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1"/>
  </p:notesMasterIdLst>
  <p:sldIdLst>
    <p:sldId id="294" r:id="rId2"/>
    <p:sldId id="286" r:id="rId3"/>
    <p:sldId id="291" r:id="rId4"/>
    <p:sldId id="260" r:id="rId5"/>
    <p:sldId id="259" r:id="rId6"/>
    <p:sldId id="279" r:id="rId7"/>
    <p:sldId id="292" r:id="rId8"/>
    <p:sldId id="288" r:id="rId9"/>
    <p:sldId id="289" r:id="rId10"/>
    <p:sldId id="287" r:id="rId11"/>
    <p:sldId id="273" r:id="rId12"/>
    <p:sldId id="272" r:id="rId13"/>
    <p:sldId id="269" r:id="rId14"/>
    <p:sldId id="290" r:id="rId15"/>
    <p:sldId id="282" r:id="rId16"/>
    <p:sldId id="281" r:id="rId17"/>
    <p:sldId id="275" r:id="rId18"/>
    <p:sldId id="293" r:id="rId19"/>
    <p:sldId id="283" r:id="rId20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0A15C55-8517-42AA-B614-E9B94910E393}" styleName="Medium Style 2 –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Medium Style 1 –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Light Style 3 –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–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985"/>
    <p:restoredTop sz="94636"/>
  </p:normalViewPr>
  <p:slideViewPr>
    <p:cSldViewPr snapToGrid="0">
      <p:cViewPr varScale="1">
        <p:scale>
          <a:sx n="54" d="100"/>
          <a:sy n="54" d="100"/>
        </p:scale>
        <p:origin x="145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883116883116882E-2"/>
          <c:y val="0.18043621943159285"/>
          <c:w val="0.96623376623376622"/>
          <c:h val="0.692002643754130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7.600793126239259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7FE-4869-822E-529659E58E00}"/>
                </c:ext>
              </c:extLst>
            </c:dLbl>
            <c:dLbl>
              <c:idx val="1"/>
              <c:layout>
                <c:manualLayout>
                  <c:x val="0"/>
                  <c:y val="-0.3992068737607402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7FE-4869-822E-529659E58E0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</c:v>
                </c:pt>
                <c:pt idx="1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7FE-4869-822E-529659E58E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39766384"/>
        <c:axId val="1"/>
      </c:barChart>
      <c:catAx>
        <c:axId val="5397663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397663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17647058823531E-2"/>
          <c:y val="4.6140195208518191E-2"/>
          <c:w val="0.96176470588235297"/>
          <c:h val="0.907719609582963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453-473A-9585-2800A36BF9F3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68.300000000000011</c:v>
                </c:pt>
                <c:pt idx="1">
                  <c:v>68.300000000000011</c:v>
                </c:pt>
                <c:pt idx="2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53-473A-9585-2800A36BF9F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1">
                  <c:v>26.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453-473A-9585-2800A36BF9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17561344"/>
        <c:axId val="1"/>
      </c:barChart>
      <c:catAx>
        <c:axId val="17175613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5.00000000000001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175613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hyperlink" Target="https://api.trafikinfo.trafikverket.se/" TargetMode="Externa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diagrams/_rels/data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svg"/><Relationship Id="rId1" Type="http://schemas.openxmlformats.org/officeDocument/2006/relationships/image" Target="../media/image23.png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2.svg"/><Relationship Id="rId2" Type="http://schemas.openxmlformats.org/officeDocument/2006/relationships/image" Target="../media/image8.svg"/><Relationship Id="rId1" Type="http://schemas.openxmlformats.org/officeDocument/2006/relationships/image" Target="../media/image7.png"/><Relationship Id="rId6" Type="http://schemas.openxmlformats.org/officeDocument/2006/relationships/image" Target="../media/image11.png"/><Relationship Id="rId5" Type="http://schemas.openxmlformats.org/officeDocument/2006/relationships/hyperlink" Target="https://api.trafikinfo.trafikverket.se/" TargetMode="External"/><Relationship Id="rId4" Type="http://schemas.openxmlformats.org/officeDocument/2006/relationships/image" Target="../media/image10.svg"/></Relationships>
</file>

<file path=ppt/diagrams/_rels/drawing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svg"/><Relationship Id="rId1" Type="http://schemas.openxmlformats.org/officeDocument/2006/relationships/image" Target="../media/image23.png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icon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18/5/colors/Iconchunking_neutralicon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B85922-C7FF-419D-99C3-6A77B25306A4}" type="doc">
      <dgm:prSet loTypeId="urn:microsoft.com/office/officeart/2016/7/layout/LinearBlockProcessNumbered" loCatId="process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9E47D384-678E-4B76-8D4B-D260BDDFDCA9}">
      <dgm:prSet/>
      <dgm:spPr/>
      <dgm:t>
        <a:bodyPr/>
        <a:lstStyle/>
        <a:p>
          <a:r>
            <a:rPr lang="en-IN" b="1" dirty="0"/>
            <a:t>Problem Statement : </a:t>
          </a:r>
          <a:r>
            <a:rPr lang="en-IN" dirty="0"/>
            <a:t>Train delays are a global problem that affect commuters, companies, and transportation networks all around the world.</a:t>
          </a:r>
          <a:endParaRPr lang="en-US" dirty="0"/>
        </a:p>
      </dgm:t>
    </dgm:pt>
    <dgm:pt modelId="{4763AF98-1D9E-4697-BDFE-62B4A216DCC4}" type="parTrans" cxnId="{934DD88B-E9BA-4B31-A381-D8BAD5978D95}">
      <dgm:prSet/>
      <dgm:spPr/>
      <dgm:t>
        <a:bodyPr/>
        <a:lstStyle/>
        <a:p>
          <a:endParaRPr lang="en-US"/>
        </a:p>
      </dgm:t>
    </dgm:pt>
    <dgm:pt modelId="{E83AAD3C-6BAB-4EB4-AAA3-456B9303BA2A}" type="sibTrans" cxnId="{934DD88B-E9BA-4B31-A381-D8BAD5978D95}">
      <dgm:prSet phldrT="01"/>
      <dgm:spPr/>
      <dgm:t>
        <a:bodyPr/>
        <a:lstStyle/>
        <a:p>
          <a:r>
            <a:rPr lang="en-US"/>
            <a:t>01</a:t>
          </a:r>
        </a:p>
      </dgm:t>
    </dgm:pt>
    <dgm:pt modelId="{EFA7B1B2-396F-43D3-A53B-461E5E9FC7BC}">
      <dgm:prSet/>
      <dgm:spPr/>
      <dgm:t>
        <a:bodyPr/>
        <a:lstStyle/>
        <a:p>
          <a:r>
            <a:rPr lang="en-IN" b="1" dirty="0"/>
            <a:t>Significance: </a:t>
          </a:r>
          <a:r>
            <a:rPr lang="en-IN" dirty="0"/>
            <a:t>Dependable train services are essential for economic productivity, environmental sustainability, and urban mobility.</a:t>
          </a:r>
          <a:endParaRPr lang="en-US" dirty="0"/>
        </a:p>
      </dgm:t>
    </dgm:pt>
    <dgm:pt modelId="{76057D9E-431B-44D2-B348-DBC5A12014F0}" type="parTrans" cxnId="{0F409A3E-44BB-4DF5-BE8A-AC1C83D2BF07}">
      <dgm:prSet/>
      <dgm:spPr/>
      <dgm:t>
        <a:bodyPr/>
        <a:lstStyle/>
        <a:p>
          <a:endParaRPr lang="en-US"/>
        </a:p>
      </dgm:t>
    </dgm:pt>
    <dgm:pt modelId="{ACBEDC37-7911-40A3-91FB-C7789F0914F7}" type="sibTrans" cxnId="{0F409A3E-44BB-4DF5-BE8A-AC1C83D2BF07}">
      <dgm:prSet phldrT="02"/>
      <dgm:spPr/>
      <dgm:t>
        <a:bodyPr/>
        <a:lstStyle/>
        <a:p>
          <a:r>
            <a:rPr lang="en-US"/>
            <a:t>02</a:t>
          </a:r>
        </a:p>
      </dgm:t>
    </dgm:pt>
    <dgm:pt modelId="{47B17D47-3587-42C1-B2DE-EEE6C5B57BC6}">
      <dgm:prSet/>
      <dgm:spPr/>
      <dgm:t>
        <a:bodyPr/>
        <a:lstStyle/>
        <a:p>
          <a:r>
            <a:rPr lang="en-IN" b="1" dirty="0"/>
            <a:t>Goal: </a:t>
          </a:r>
          <a:r>
            <a:rPr lang="en-IN" dirty="0"/>
            <a:t>We want to create a machine learning model that can anticipate train delays with accuracy and lessen the effects they have on stakeholders.</a:t>
          </a:r>
          <a:endParaRPr lang="en-US" dirty="0"/>
        </a:p>
      </dgm:t>
    </dgm:pt>
    <dgm:pt modelId="{AD7C3532-459C-44E8-8ACA-AD6B65254AEB}" type="parTrans" cxnId="{F5B4A965-D5B4-46FF-9433-D57DFE397572}">
      <dgm:prSet/>
      <dgm:spPr/>
      <dgm:t>
        <a:bodyPr/>
        <a:lstStyle/>
        <a:p>
          <a:endParaRPr lang="en-US"/>
        </a:p>
      </dgm:t>
    </dgm:pt>
    <dgm:pt modelId="{F4FA4C5D-79C0-4544-9518-63DDC1014235}" type="sibTrans" cxnId="{F5B4A965-D5B4-46FF-9433-D57DFE397572}">
      <dgm:prSet phldrT="03"/>
      <dgm:spPr/>
      <dgm:t>
        <a:bodyPr/>
        <a:lstStyle/>
        <a:p>
          <a:r>
            <a:rPr lang="en-US"/>
            <a:t>03</a:t>
          </a:r>
        </a:p>
      </dgm:t>
    </dgm:pt>
    <dgm:pt modelId="{994D792E-7AEA-4957-B0A3-CD3F8C76F040}">
      <dgm:prSet/>
      <dgm:spPr/>
      <dgm:t>
        <a:bodyPr/>
        <a:lstStyle/>
        <a:p>
          <a:r>
            <a:rPr lang="en-US" b="1" dirty="0"/>
            <a:t>Objectives: </a:t>
          </a:r>
          <a:r>
            <a:rPr lang="en-US" dirty="0"/>
            <a:t>In this presentation, we will delve into the methodologies, results, and implications of our ML project on predicting train delays.</a:t>
          </a:r>
        </a:p>
      </dgm:t>
    </dgm:pt>
    <dgm:pt modelId="{8CBBC334-7791-4527-A86E-8A0694EEAB36}" type="parTrans" cxnId="{A1905A32-CF19-4807-BB86-6F34FC631D32}">
      <dgm:prSet/>
      <dgm:spPr/>
      <dgm:t>
        <a:bodyPr/>
        <a:lstStyle/>
        <a:p>
          <a:endParaRPr lang="en-US"/>
        </a:p>
      </dgm:t>
    </dgm:pt>
    <dgm:pt modelId="{D7EEA736-795A-4970-8158-92D301203201}" type="sibTrans" cxnId="{A1905A32-CF19-4807-BB86-6F34FC631D32}">
      <dgm:prSet phldrT="04"/>
      <dgm:spPr/>
      <dgm:t>
        <a:bodyPr/>
        <a:lstStyle/>
        <a:p>
          <a:r>
            <a:rPr lang="en-US"/>
            <a:t>04</a:t>
          </a:r>
        </a:p>
      </dgm:t>
    </dgm:pt>
    <dgm:pt modelId="{7006BAB8-F3CB-BB43-AA28-B8CA5CFC8A8A}" type="pres">
      <dgm:prSet presAssocID="{7FB85922-C7FF-419D-99C3-6A77B25306A4}" presName="Name0" presStyleCnt="0">
        <dgm:presLayoutVars>
          <dgm:animLvl val="lvl"/>
          <dgm:resizeHandles val="exact"/>
        </dgm:presLayoutVars>
      </dgm:prSet>
      <dgm:spPr/>
    </dgm:pt>
    <dgm:pt modelId="{42A38045-FAEE-C445-9A58-E69E6A6B843C}" type="pres">
      <dgm:prSet presAssocID="{9E47D384-678E-4B76-8D4B-D260BDDFDCA9}" presName="compositeNode" presStyleCnt="0">
        <dgm:presLayoutVars>
          <dgm:bulletEnabled val="1"/>
        </dgm:presLayoutVars>
      </dgm:prSet>
      <dgm:spPr/>
    </dgm:pt>
    <dgm:pt modelId="{72881EE0-C563-304E-90B6-212734453466}" type="pres">
      <dgm:prSet presAssocID="{9E47D384-678E-4B76-8D4B-D260BDDFDCA9}" presName="bgRect" presStyleLbl="alignNode1" presStyleIdx="0" presStyleCnt="4"/>
      <dgm:spPr/>
    </dgm:pt>
    <dgm:pt modelId="{9690A6AF-5F66-244C-BA2B-4F54206B307E}" type="pres">
      <dgm:prSet presAssocID="{E83AAD3C-6BAB-4EB4-AAA3-456B9303BA2A}" presName="sibTransNodeRect" presStyleLbl="alignNode1" presStyleIdx="0" presStyleCnt="4">
        <dgm:presLayoutVars>
          <dgm:chMax val="0"/>
          <dgm:bulletEnabled val="1"/>
        </dgm:presLayoutVars>
      </dgm:prSet>
      <dgm:spPr/>
    </dgm:pt>
    <dgm:pt modelId="{19885BBB-CC55-F34E-A51F-25FDBBFE1733}" type="pres">
      <dgm:prSet presAssocID="{9E47D384-678E-4B76-8D4B-D260BDDFDCA9}" presName="nodeRect" presStyleLbl="alignNode1" presStyleIdx="0" presStyleCnt="4">
        <dgm:presLayoutVars>
          <dgm:bulletEnabled val="1"/>
        </dgm:presLayoutVars>
      </dgm:prSet>
      <dgm:spPr/>
    </dgm:pt>
    <dgm:pt modelId="{A1210B15-81E7-174D-A8D4-8407D4FC7E6F}" type="pres">
      <dgm:prSet presAssocID="{E83AAD3C-6BAB-4EB4-AAA3-456B9303BA2A}" presName="sibTrans" presStyleCnt="0"/>
      <dgm:spPr/>
    </dgm:pt>
    <dgm:pt modelId="{CE35A095-C92D-CA43-9E5A-BE5F6C9615FE}" type="pres">
      <dgm:prSet presAssocID="{EFA7B1B2-396F-43D3-A53B-461E5E9FC7BC}" presName="compositeNode" presStyleCnt="0">
        <dgm:presLayoutVars>
          <dgm:bulletEnabled val="1"/>
        </dgm:presLayoutVars>
      </dgm:prSet>
      <dgm:spPr/>
    </dgm:pt>
    <dgm:pt modelId="{BCBE1D48-8016-4641-A1F1-0D603898FFD4}" type="pres">
      <dgm:prSet presAssocID="{EFA7B1B2-396F-43D3-A53B-461E5E9FC7BC}" presName="bgRect" presStyleLbl="alignNode1" presStyleIdx="1" presStyleCnt="4"/>
      <dgm:spPr/>
    </dgm:pt>
    <dgm:pt modelId="{0A8C497D-5DCE-BB42-8E06-2F744C6F6C34}" type="pres">
      <dgm:prSet presAssocID="{ACBEDC37-7911-40A3-91FB-C7789F0914F7}" presName="sibTransNodeRect" presStyleLbl="alignNode1" presStyleIdx="1" presStyleCnt="4">
        <dgm:presLayoutVars>
          <dgm:chMax val="0"/>
          <dgm:bulletEnabled val="1"/>
        </dgm:presLayoutVars>
      </dgm:prSet>
      <dgm:spPr/>
    </dgm:pt>
    <dgm:pt modelId="{650A471A-DF35-8240-81CF-8A1FF1321B8A}" type="pres">
      <dgm:prSet presAssocID="{EFA7B1B2-396F-43D3-A53B-461E5E9FC7BC}" presName="nodeRect" presStyleLbl="alignNode1" presStyleIdx="1" presStyleCnt="4">
        <dgm:presLayoutVars>
          <dgm:bulletEnabled val="1"/>
        </dgm:presLayoutVars>
      </dgm:prSet>
      <dgm:spPr/>
    </dgm:pt>
    <dgm:pt modelId="{6AA94EE7-919F-4C4C-8FC3-A972EB578450}" type="pres">
      <dgm:prSet presAssocID="{ACBEDC37-7911-40A3-91FB-C7789F0914F7}" presName="sibTrans" presStyleCnt="0"/>
      <dgm:spPr/>
    </dgm:pt>
    <dgm:pt modelId="{FBE654DA-8B82-404B-892E-E4FD384BF4F3}" type="pres">
      <dgm:prSet presAssocID="{47B17D47-3587-42C1-B2DE-EEE6C5B57BC6}" presName="compositeNode" presStyleCnt="0">
        <dgm:presLayoutVars>
          <dgm:bulletEnabled val="1"/>
        </dgm:presLayoutVars>
      </dgm:prSet>
      <dgm:spPr/>
    </dgm:pt>
    <dgm:pt modelId="{AEC2E468-2706-9242-AC4F-C9020D2FF122}" type="pres">
      <dgm:prSet presAssocID="{47B17D47-3587-42C1-B2DE-EEE6C5B57BC6}" presName="bgRect" presStyleLbl="alignNode1" presStyleIdx="2" presStyleCnt="4"/>
      <dgm:spPr/>
    </dgm:pt>
    <dgm:pt modelId="{B700AB89-FA7D-F04F-97B2-E24212CC8F86}" type="pres">
      <dgm:prSet presAssocID="{F4FA4C5D-79C0-4544-9518-63DDC1014235}" presName="sibTransNodeRect" presStyleLbl="alignNode1" presStyleIdx="2" presStyleCnt="4">
        <dgm:presLayoutVars>
          <dgm:chMax val="0"/>
          <dgm:bulletEnabled val="1"/>
        </dgm:presLayoutVars>
      </dgm:prSet>
      <dgm:spPr/>
    </dgm:pt>
    <dgm:pt modelId="{5B2885F3-A817-4044-890B-A83605B715D6}" type="pres">
      <dgm:prSet presAssocID="{47B17D47-3587-42C1-B2DE-EEE6C5B57BC6}" presName="nodeRect" presStyleLbl="alignNode1" presStyleIdx="2" presStyleCnt="4">
        <dgm:presLayoutVars>
          <dgm:bulletEnabled val="1"/>
        </dgm:presLayoutVars>
      </dgm:prSet>
      <dgm:spPr/>
    </dgm:pt>
    <dgm:pt modelId="{636AC8D4-884A-6042-813F-BFDB78AD0298}" type="pres">
      <dgm:prSet presAssocID="{F4FA4C5D-79C0-4544-9518-63DDC1014235}" presName="sibTrans" presStyleCnt="0"/>
      <dgm:spPr/>
    </dgm:pt>
    <dgm:pt modelId="{DE34C787-A396-6C4C-A7B0-0BF03D6EF86B}" type="pres">
      <dgm:prSet presAssocID="{994D792E-7AEA-4957-B0A3-CD3F8C76F040}" presName="compositeNode" presStyleCnt="0">
        <dgm:presLayoutVars>
          <dgm:bulletEnabled val="1"/>
        </dgm:presLayoutVars>
      </dgm:prSet>
      <dgm:spPr/>
    </dgm:pt>
    <dgm:pt modelId="{7327DA99-5EFA-994C-AE7F-7642D9811F58}" type="pres">
      <dgm:prSet presAssocID="{994D792E-7AEA-4957-B0A3-CD3F8C76F040}" presName="bgRect" presStyleLbl="alignNode1" presStyleIdx="3" presStyleCnt="4"/>
      <dgm:spPr/>
    </dgm:pt>
    <dgm:pt modelId="{DA8043CE-76EB-2B4D-AF3D-D05D62729F88}" type="pres">
      <dgm:prSet presAssocID="{D7EEA736-795A-4970-8158-92D301203201}" presName="sibTransNodeRect" presStyleLbl="alignNode1" presStyleIdx="3" presStyleCnt="4">
        <dgm:presLayoutVars>
          <dgm:chMax val="0"/>
          <dgm:bulletEnabled val="1"/>
        </dgm:presLayoutVars>
      </dgm:prSet>
      <dgm:spPr/>
    </dgm:pt>
    <dgm:pt modelId="{9C5EBEE1-0839-8F4D-B91B-8C84DA4DEF74}" type="pres">
      <dgm:prSet presAssocID="{994D792E-7AEA-4957-B0A3-CD3F8C76F040}" presName="nodeRect" presStyleLbl="alignNode1" presStyleIdx="3" presStyleCnt="4">
        <dgm:presLayoutVars>
          <dgm:bulletEnabled val="1"/>
        </dgm:presLayoutVars>
      </dgm:prSet>
      <dgm:spPr/>
    </dgm:pt>
  </dgm:ptLst>
  <dgm:cxnLst>
    <dgm:cxn modelId="{1F331418-A7BA-CC4B-B28C-916974E72842}" type="presOf" srcId="{47B17D47-3587-42C1-B2DE-EEE6C5B57BC6}" destId="{5B2885F3-A817-4044-890B-A83605B715D6}" srcOrd="1" destOrd="0" presId="urn:microsoft.com/office/officeart/2016/7/layout/LinearBlockProcessNumbered"/>
    <dgm:cxn modelId="{A1905A32-CF19-4807-BB86-6F34FC631D32}" srcId="{7FB85922-C7FF-419D-99C3-6A77B25306A4}" destId="{994D792E-7AEA-4957-B0A3-CD3F8C76F040}" srcOrd="3" destOrd="0" parTransId="{8CBBC334-7791-4527-A86E-8A0694EEAB36}" sibTransId="{D7EEA736-795A-4970-8158-92D301203201}"/>
    <dgm:cxn modelId="{0F409A3E-44BB-4DF5-BE8A-AC1C83D2BF07}" srcId="{7FB85922-C7FF-419D-99C3-6A77B25306A4}" destId="{EFA7B1B2-396F-43D3-A53B-461E5E9FC7BC}" srcOrd="1" destOrd="0" parTransId="{76057D9E-431B-44D2-B348-DBC5A12014F0}" sibTransId="{ACBEDC37-7911-40A3-91FB-C7789F0914F7}"/>
    <dgm:cxn modelId="{508E7462-B5D9-804C-BA5F-9B4B725934EA}" type="presOf" srcId="{994D792E-7AEA-4957-B0A3-CD3F8C76F040}" destId="{9C5EBEE1-0839-8F4D-B91B-8C84DA4DEF74}" srcOrd="1" destOrd="0" presId="urn:microsoft.com/office/officeart/2016/7/layout/LinearBlockProcessNumbered"/>
    <dgm:cxn modelId="{FD5C6664-446B-7849-A029-108E0104935C}" type="presOf" srcId="{47B17D47-3587-42C1-B2DE-EEE6C5B57BC6}" destId="{AEC2E468-2706-9242-AC4F-C9020D2FF122}" srcOrd="0" destOrd="0" presId="urn:microsoft.com/office/officeart/2016/7/layout/LinearBlockProcessNumbered"/>
    <dgm:cxn modelId="{F5B4A965-D5B4-46FF-9433-D57DFE397572}" srcId="{7FB85922-C7FF-419D-99C3-6A77B25306A4}" destId="{47B17D47-3587-42C1-B2DE-EEE6C5B57BC6}" srcOrd="2" destOrd="0" parTransId="{AD7C3532-459C-44E8-8ACA-AD6B65254AEB}" sibTransId="{F4FA4C5D-79C0-4544-9518-63DDC1014235}"/>
    <dgm:cxn modelId="{1AB82648-0BBD-D04A-8E59-99103DC26A31}" type="presOf" srcId="{EFA7B1B2-396F-43D3-A53B-461E5E9FC7BC}" destId="{BCBE1D48-8016-4641-A1F1-0D603898FFD4}" srcOrd="0" destOrd="0" presId="urn:microsoft.com/office/officeart/2016/7/layout/LinearBlockProcessNumbered"/>
    <dgm:cxn modelId="{EFDE606F-EB31-CA43-B3AC-A4259175DFA2}" type="presOf" srcId="{ACBEDC37-7911-40A3-91FB-C7789F0914F7}" destId="{0A8C497D-5DCE-BB42-8E06-2F744C6F6C34}" srcOrd="0" destOrd="0" presId="urn:microsoft.com/office/officeart/2016/7/layout/LinearBlockProcessNumbered"/>
    <dgm:cxn modelId="{D170EA7B-282C-1C41-92D0-465A85E3E1FC}" type="presOf" srcId="{9E47D384-678E-4B76-8D4B-D260BDDFDCA9}" destId="{19885BBB-CC55-F34E-A51F-25FDBBFE1733}" srcOrd="1" destOrd="0" presId="urn:microsoft.com/office/officeart/2016/7/layout/LinearBlockProcessNumbered"/>
    <dgm:cxn modelId="{934DD88B-E9BA-4B31-A381-D8BAD5978D95}" srcId="{7FB85922-C7FF-419D-99C3-6A77B25306A4}" destId="{9E47D384-678E-4B76-8D4B-D260BDDFDCA9}" srcOrd="0" destOrd="0" parTransId="{4763AF98-1D9E-4697-BDFE-62B4A216DCC4}" sibTransId="{E83AAD3C-6BAB-4EB4-AAA3-456B9303BA2A}"/>
    <dgm:cxn modelId="{8C5E95A2-4E66-1D4C-B438-24D2E14F93CA}" type="presOf" srcId="{F4FA4C5D-79C0-4544-9518-63DDC1014235}" destId="{B700AB89-FA7D-F04F-97B2-E24212CC8F86}" srcOrd="0" destOrd="0" presId="urn:microsoft.com/office/officeart/2016/7/layout/LinearBlockProcessNumbered"/>
    <dgm:cxn modelId="{ED4485B2-FACD-524E-BCA8-6D8CA403ADBB}" type="presOf" srcId="{9E47D384-678E-4B76-8D4B-D260BDDFDCA9}" destId="{72881EE0-C563-304E-90B6-212734453466}" srcOrd="0" destOrd="0" presId="urn:microsoft.com/office/officeart/2016/7/layout/LinearBlockProcessNumbered"/>
    <dgm:cxn modelId="{0995B1C0-156B-8348-99DA-300B5B9258E2}" type="presOf" srcId="{E83AAD3C-6BAB-4EB4-AAA3-456B9303BA2A}" destId="{9690A6AF-5F66-244C-BA2B-4F54206B307E}" srcOrd="0" destOrd="0" presId="urn:microsoft.com/office/officeart/2016/7/layout/LinearBlockProcessNumbered"/>
    <dgm:cxn modelId="{76669FCB-E5DA-A448-9CA5-7F75AF204160}" type="presOf" srcId="{994D792E-7AEA-4957-B0A3-CD3F8C76F040}" destId="{7327DA99-5EFA-994C-AE7F-7642D9811F58}" srcOrd="0" destOrd="0" presId="urn:microsoft.com/office/officeart/2016/7/layout/LinearBlockProcessNumbered"/>
    <dgm:cxn modelId="{743A33DC-DF17-5B45-A2C6-DFEB859E74E8}" type="presOf" srcId="{D7EEA736-795A-4970-8158-92D301203201}" destId="{DA8043CE-76EB-2B4D-AF3D-D05D62729F88}" srcOrd="0" destOrd="0" presId="urn:microsoft.com/office/officeart/2016/7/layout/LinearBlockProcessNumbered"/>
    <dgm:cxn modelId="{04B509EC-1DF8-C34D-8F9A-D294002434C7}" type="presOf" srcId="{EFA7B1B2-396F-43D3-A53B-461E5E9FC7BC}" destId="{650A471A-DF35-8240-81CF-8A1FF1321B8A}" srcOrd="1" destOrd="0" presId="urn:microsoft.com/office/officeart/2016/7/layout/LinearBlockProcessNumbered"/>
    <dgm:cxn modelId="{D72C5DEC-5E7A-734B-B616-3206CDA02FFA}" type="presOf" srcId="{7FB85922-C7FF-419D-99C3-6A77B25306A4}" destId="{7006BAB8-F3CB-BB43-AA28-B8CA5CFC8A8A}" srcOrd="0" destOrd="0" presId="urn:microsoft.com/office/officeart/2016/7/layout/LinearBlockProcessNumbered"/>
    <dgm:cxn modelId="{6F944C7B-7738-B441-9684-3FDAD73E2499}" type="presParOf" srcId="{7006BAB8-F3CB-BB43-AA28-B8CA5CFC8A8A}" destId="{42A38045-FAEE-C445-9A58-E69E6A6B843C}" srcOrd="0" destOrd="0" presId="urn:microsoft.com/office/officeart/2016/7/layout/LinearBlockProcessNumbered"/>
    <dgm:cxn modelId="{39CD19D8-C0EC-764E-91D1-FA949B23A1D5}" type="presParOf" srcId="{42A38045-FAEE-C445-9A58-E69E6A6B843C}" destId="{72881EE0-C563-304E-90B6-212734453466}" srcOrd="0" destOrd="0" presId="urn:microsoft.com/office/officeart/2016/7/layout/LinearBlockProcessNumbered"/>
    <dgm:cxn modelId="{7BF5AEE0-795B-E54A-9C89-42F859535219}" type="presParOf" srcId="{42A38045-FAEE-C445-9A58-E69E6A6B843C}" destId="{9690A6AF-5F66-244C-BA2B-4F54206B307E}" srcOrd="1" destOrd="0" presId="urn:microsoft.com/office/officeart/2016/7/layout/LinearBlockProcessNumbered"/>
    <dgm:cxn modelId="{C2EDE525-0F96-724D-A9A3-31561241077B}" type="presParOf" srcId="{42A38045-FAEE-C445-9A58-E69E6A6B843C}" destId="{19885BBB-CC55-F34E-A51F-25FDBBFE1733}" srcOrd="2" destOrd="0" presId="urn:microsoft.com/office/officeart/2016/7/layout/LinearBlockProcessNumbered"/>
    <dgm:cxn modelId="{61260A4F-05ED-8E44-BE64-21AB67725B4D}" type="presParOf" srcId="{7006BAB8-F3CB-BB43-AA28-B8CA5CFC8A8A}" destId="{A1210B15-81E7-174D-A8D4-8407D4FC7E6F}" srcOrd="1" destOrd="0" presId="urn:microsoft.com/office/officeart/2016/7/layout/LinearBlockProcessNumbered"/>
    <dgm:cxn modelId="{8CE5077D-862E-9142-8251-D5F6ED5163F7}" type="presParOf" srcId="{7006BAB8-F3CB-BB43-AA28-B8CA5CFC8A8A}" destId="{CE35A095-C92D-CA43-9E5A-BE5F6C9615FE}" srcOrd="2" destOrd="0" presId="urn:microsoft.com/office/officeart/2016/7/layout/LinearBlockProcessNumbered"/>
    <dgm:cxn modelId="{CFCF9E93-3541-1848-9F11-174BAFC1CB49}" type="presParOf" srcId="{CE35A095-C92D-CA43-9E5A-BE5F6C9615FE}" destId="{BCBE1D48-8016-4641-A1F1-0D603898FFD4}" srcOrd="0" destOrd="0" presId="urn:microsoft.com/office/officeart/2016/7/layout/LinearBlockProcessNumbered"/>
    <dgm:cxn modelId="{A3C5E7CD-4FE0-0A4E-9DF7-289CEA515ADF}" type="presParOf" srcId="{CE35A095-C92D-CA43-9E5A-BE5F6C9615FE}" destId="{0A8C497D-5DCE-BB42-8E06-2F744C6F6C34}" srcOrd="1" destOrd="0" presId="urn:microsoft.com/office/officeart/2016/7/layout/LinearBlockProcessNumbered"/>
    <dgm:cxn modelId="{B6008744-7AD0-944C-8190-9C1F3965DD9C}" type="presParOf" srcId="{CE35A095-C92D-CA43-9E5A-BE5F6C9615FE}" destId="{650A471A-DF35-8240-81CF-8A1FF1321B8A}" srcOrd="2" destOrd="0" presId="urn:microsoft.com/office/officeart/2016/7/layout/LinearBlockProcessNumbered"/>
    <dgm:cxn modelId="{2A2EAF10-1527-BD49-89A0-4ECE89C3B052}" type="presParOf" srcId="{7006BAB8-F3CB-BB43-AA28-B8CA5CFC8A8A}" destId="{6AA94EE7-919F-4C4C-8FC3-A972EB578450}" srcOrd="3" destOrd="0" presId="urn:microsoft.com/office/officeart/2016/7/layout/LinearBlockProcessNumbered"/>
    <dgm:cxn modelId="{57AEB460-F325-7347-8A23-FE32602203ED}" type="presParOf" srcId="{7006BAB8-F3CB-BB43-AA28-B8CA5CFC8A8A}" destId="{FBE654DA-8B82-404B-892E-E4FD384BF4F3}" srcOrd="4" destOrd="0" presId="urn:microsoft.com/office/officeart/2016/7/layout/LinearBlockProcessNumbered"/>
    <dgm:cxn modelId="{9389A41E-4337-2347-8418-3BFFD8E360AF}" type="presParOf" srcId="{FBE654DA-8B82-404B-892E-E4FD384BF4F3}" destId="{AEC2E468-2706-9242-AC4F-C9020D2FF122}" srcOrd="0" destOrd="0" presId="urn:microsoft.com/office/officeart/2016/7/layout/LinearBlockProcessNumbered"/>
    <dgm:cxn modelId="{90625462-9AE6-074A-B54B-B1D2FA7DCF14}" type="presParOf" srcId="{FBE654DA-8B82-404B-892E-E4FD384BF4F3}" destId="{B700AB89-FA7D-F04F-97B2-E24212CC8F86}" srcOrd="1" destOrd="0" presId="urn:microsoft.com/office/officeart/2016/7/layout/LinearBlockProcessNumbered"/>
    <dgm:cxn modelId="{9627F53A-B5B2-1C42-8715-07B525F52647}" type="presParOf" srcId="{FBE654DA-8B82-404B-892E-E4FD384BF4F3}" destId="{5B2885F3-A817-4044-890B-A83605B715D6}" srcOrd="2" destOrd="0" presId="urn:microsoft.com/office/officeart/2016/7/layout/LinearBlockProcessNumbered"/>
    <dgm:cxn modelId="{DB079897-4344-8046-BFAA-6DA81F412831}" type="presParOf" srcId="{7006BAB8-F3CB-BB43-AA28-B8CA5CFC8A8A}" destId="{636AC8D4-884A-6042-813F-BFDB78AD0298}" srcOrd="5" destOrd="0" presId="urn:microsoft.com/office/officeart/2016/7/layout/LinearBlockProcessNumbered"/>
    <dgm:cxn modelId="{A2AFC31D-DF2D-0144-8E91-8975B3AC6863}" type="presParOf" srcId="{7006BAB8-F3CB-BB43-AA28-B8CA5CFC8A8A}" destId="{DE34C787-A396-6C4C-A7B0-0BF03D6EF86B}" srcOrd="6" destOrd="0" presId="urn:microsoft.com/office/officeart/2016/7/layout/LinearBlockProcessNumbered"/>
    <dgm:cxn modelId="{301492D4-DC9D-734B-91C1-17CFA0D44F0F}" type="presParOf" srcId="{DE34C787-A396-6C4C-A7B0-0BF03D6EF86B}" destId="{7327DA99-5EFA-994C-AE7F-7642D9811F58}" srcOrd="0" destOrd="0" presId="urn:microsoft.com/office/officeart/2016/7/layout/LinearBlockProcessNumbered"/>
    <dgm:cxn modelId="{0DF35C0C-8166-8F46-9C19-871E9D8FE67F}" type="presParOf" srcId="{DE34C787-A396-6C4C-A7B0-0BF03D6EF86B}" destId="{DA8043CE-76EB-2B4D-AF3D-D05D62729F88}" srcOrd="1" destOrd="0" presId="urn:microsoft.com/office/officeart/2016/7/layout/LinearBlockProcessNumbered"/>
    <dgm:cxn modelId="{9BDC57B7-7576-B343-85C6-1DDC16B2259E}" type="presParOf" srcId="{DE34C787-A396-6C4C-A7B0-0BF03D6EF86B}" destId="{9C5EBEE1-0839-8F4D-B91B-8C84DA4DEF74}" srcOrd="2" destOrd="0" presId="urn:microsoft.com/office/officeart/2016/7/layout/LinearBlockProcessNumbered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4BF07E9-5B5C-49B6-B1F1-DBC374039C73}" type="doc">
      <dgm:prSet loTypeId="urn:microsoft.com/office/officeart/2018/2/layout/IconCircleList" loCatId="icon" qsTypeId="urn:microsoft.com/office/officeart/2005/8/quickstyle/simple1" qsCatId="simple" csTypeId="urn:microsoft.com/office/officeart/2018/5/colors/Iconchunking_neutralicon_colorful1" csCatId="colorful" phldr="1"/>
      <dgm:spPr/>
      <dgm:t>
        <a:bodyPr/>
        <a:lstStyle/>
        <a:p>
          <a:endParaRPr lang="en-US"/>
        </a:p>
      </dgm:t>
    </dgm:pt>
    <dgm:pt modelId="{622C047E-94ED-4488-9053-DBDFF03615A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Binary Classification Objective: </a:t>
          </a:r>
          <a:r>
            <a:rPr lang="en-IN" b="0" i="0" dirty="0"/>
            <a:t>Develop a model that predicts whether a train will be delayed(1) or not delayed(0).</a:t>
          </a:r>
          <a:endParaRPr lang="en-US" dirty="0"/>
        </a:p>
      </dgm:t>
    </dgm:pt>
    <dgm:pt modelId="{3B0B8F1E-BAB5-4AE4-9F8E-256D50C7FB63}" type="parTrans" cxnId="{432223FF-8EF6-469E-BF95-02DD2515DDDA}">
      <dgm:prSet/>
      <dgm:spPr/>
      <dgm:t>
        <a:bodyPr/>
        <a:lstStyle/>
        <a:p>
          <a:endParaRPr lang="en-US"/>
        </a:p>
      </dgm:t>
    </dgm:pt>
    <dgm:pt modelId="{8EDFF7FA-7AEC-42BA-98F9-DFC6C407B7A2}" type="sibTrans" cxnId="{432223FF-8EF6-469E-BF95-02DD2515DDDA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FFA1B2EE-39E2-4D4D-8600-8A28134614BB}">
      <dgm:prSet/>
      <dgm:spPr/>
      <dgm:t>
        <a:bodyPr/>
        <a:lstStyle/>
        <a:p>
          <a:pPr>
            <a:lnSpc>
              <a:spcPct val="100000"/>
            </a:lnSpc>
          </a:pPr>
          <a:r>
            <a:rPr lang="en-IN"/>
            <a:t>Data: Leverage historical data of train departures for 2 days from the public API - </a:t>
          </a:r>
          <a:r>
            <a:rPr lang="en-IN">
              <a:hlinkClick xmlns:r="http://schemas.openxmlformats.org/officeDocument/2006/relationships" r:id="rId1"/>
            </a:rPr>
            <a:t>https://api.trafikinfo.trafikverket.se/</a:t>
          </a:r>
          <a:endParaRPr lang="en-US"/>
        </a:p>
      </dgm:t>
    </dgm:pt>
    <dgm:pt modelId="{0E722718-F16C-48AB-B006-F69F9DA619F6}" type="parTrans" cxnId="{EE66CBED-B11C-46D5-9AF4-312C94FB62C3}">
      <dgm:prSet/>
      <dgm:spPr/>
      <dgm:t>
        <a:bodyPr/>
        <a:lstStyle/>
        <a:p>
          <a:endParaRPr lang="en-US"/>
        </a:p>
      </dgm:t>
    </dgm:pt>
    <dgm:pt modelId="{A477F4B4-EF5D-4FDF-8DA6-C636F34CB932}" type="sibTrans" cxnId="{EE66CBED-B11C-46D5-9AF4-312C94FB62C3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AA504F8D-0269-4407-A0DD-D3AF17A85254}">
      <dgm:prSet/>
      <dgm:spPr/>
      <dgm:t>
        <a:bodyPr/>
        <a:lstStyle/>
        <a:p>
          <a:pPr>
            <a:lnSpc>
              <a:spcPct val="100000"/>
            </a:lnSpc>
          </a:pPr>
          <a:r>
            <a:rPr lang="en-IN"/>
            <a:t>Impact: Timely communication and improved passenger experience.</a:t>
          </a:r>
          <a:endParaRPr lang="en-US"/>
        </a:p>
      </dgm:t>
    </dgm:pt>
    <dgm:pt modelId="{B61A842D-86D2-4D42-AD8F-E493D2647C3F}" type="parTrans" cxnId="{CCBB80C9-DA7C-4421-9626-4198EA9E5071}">
      <dgm:prSet/>
      <dgm:spPr/>
      <dgm:t>
        <a:bodyPr/>
        <a:lstStyle/>
        <a:p>
          <a:endParaRPr lang="en-US"/>
        </a:p>
      </dgm:t>
    </dgm:pt>
    <dgm:pt modelId="{1FB440D4-1267-4F13-BD60-B45D2982B949}" type="sibTrans" cxnId="{CCBB80C9-DA7C-4421-9626-4198EA9E5071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F1E731F5-6FD0-4AD4-B867-C92A1FA7EEC3}">
      <dgm:prSet/>
      <dgm:spPr/>
      <dgm:t>
        <a:bodyPr/>
        <a:lstStyle/>
        <a:p>
          <a:pPr>
            <a:lnSpc>
              <a:spcPct val="100000"/>
            </a:lnSpc>
          </a:pPr>
          <a:r>
            <a:rPr lang="en-IN"/>
            <a:t>Innovation: </a:t>
          </a:r>
          <a:r>
            <a:rPr lang="en-IN" b="0" i="0"/>
            <a:t>Contribute to the advancement of transport technology by leveraging machine learning and real-time data analytics to address real-world challenges in train scheduling and operations.</a:t>
          </a:r>
          <a:endParaRPr lang="en-US"/>
        </a:p>
      </dgm:t>
    </dgm:pt>
    <dgm:pt modelId="{1B1D3B67-61CA-4C6A-9AE0-6D235AB2B5AC}" type="parTrans" cxnId="{7737B117-71CD-4B39-8B7C-25FE3A900E7C}">
      <dgm:prSet/>
      <dgm:spPr/>
      <dgm:t>
        <a:bodyPr/>
        <a:lstStyle/>
        <a:p>
          <a:endParaRPr lang="en-US"/>
        </a:p>
      </dgm:t>
    </dgm:pt>
    <dgm:pt modelId="{117A0813-8971-4477-A18D-031658078499}" type="sibTrans" cxnId="{7737B117-71CD-4B39-8B7C-25FE3A900E7C}">
      <dgm:prSet/>
      <dgm:spPr/>
      <dgm:t>
        <a:bodyPr/>
        <a:lstStyle/>
        <a:p>
          <a:endParaRPr lang="en-US"/>
        </a:p>
      </dgm:t>
    </dgm:pt>
    <dgm:pt modelId="{B8CD00E7-1627-410A-B5C9-85F3385F9CBB}" type="pres">
      <dgm:prSet presAssocID="{54BF07E9-5B5C-49B6-B1F1-DBC374039C73}" presName="root" presStyleCnt="0">
        <dgm:presLayoutVars>
          <dgm:dir/>
          <dgm:resizeHandles val="exact"/>
        </dgm:presLayoutVars>
      </dgm:prSet>
      <dgm:spPr/>
    </dgm:pt>
    <dgm:pt modelId="{B2092592-54B2-4EBA-9221-C0D8E04AACF2}" type="pres">
      <dgm:prSet presAssocID="{54BF07E9-5B5C-49B6-B1F1-DBC374039C73}" presName="container" presStyleCnt="0">
        <dgm:presLayoutVars>
          <dgm:dir/>
          <dgm:resizeHandles val="exact"/>
        </dgm:presLayoutVars>
      </dgm:prSet>
      <dgm:spPr/>
    </dgm:pt>
    <dgm:pt modelId="{C24928B1-5B62-4FB8-A0C8-C0AEED14087A}" type="pres">
      <dgm:prSet presAssocID="{622C047E-94ED-4488-9053-DBDFF03615AC}" presName="compNode" presStyleCnt="0"/>
      <dgm:spPr/>
    </dgm:pt>
    <dgm:pt modelId="{66644187-D922-4968-9888-BA97249AB9E3}" type="pres">
      <dgm:prSet presAssocID="{622C047E-94ED-4488-9053-DBDFF03615AC}" presName="iconBgRect" presStyleLbl="bgShp" presStyleIdx="0" presStyleCnt="4"/>
      <dgm:spPr/>
    </dgm:pt>
    <dgm:pt modelId="{AC231FC8-C988-4D54-8877-3E4A021843A1}" type="pres">
      <dgm:prSet presAssocID="{622C047E-94ED-4488-9053-DBDFF03615AC}" presName="iconRect" presStyleLbl="node1" presStyleIdx="0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rain"/>
        </a:ext>
      </dgm:extLst>
    </dgm:pt>
    <dgm:pt modelId="{640AEFC8-4142-4E9A-A5FF-E65DFC598FBA}" type="pres">
      <dgm:prSet presAssocID="{622C047E-94ED-4488-9053-DBDFF03615AC}" presName="spaceRect" presStyleCnt="0"/>
      <dgm:spPr/>
    </dgm:pt>
    <dgm:pt modelId="{B2A7D65D-8B0A-4A77-9441-012488AD3DD7}" type="pres">
      <dgm:prSet presAssocID="{622C047E-94ED-4488-9053-DBDFF03615AC}" presName="textRect" presStyleLbl="revTx" presStyleIdx="0" presStyleCnt="4">
        <dgm:presLayoutVars>
          <dgm:chMax val="1"/>
          <dgm:chPref val="1"/>
        </dgm:presLayoutVars>
      </dgm:prSet>
      <dgm:spPr/>
    </dgm:pt>
    <dgm:pt modelId="{01FAD582-3F40-42E8-AD8C-B87E26F01505}" type="pres">
      <dgm:prSet presAssocID="{8EDFF7FA-7AEC-42BA-98F9-DFC6C407B7A2}" presName="sibTrans" presStyleLbl="sibTrans2D1" presStyleIdx="0" presStyleCnt="0"/>
      <dgm:spPr/>
    </dgm:pt>
    <dgm:pt modelId="{873F31EE-0B89-42D1-89F4-09585AF2CCD2}" type="pres">
      <dgm:prSet presAssocID="{FFA1B2EE-39E2-4D4D-8600-8A28134614BB}" presName="compNode" presStyleCnt="0"/>
      <dgm:spPr/>
    </dgm:pt>
    <dgm:pt modelId="{DFF183D4-1D4B-48AF-96BE-952372D6A5BF}" type="pres">
      <dgm:prSet presAssocID="{FFA1B2EE-39E2-4D4D-8600-8A28134614BB}" presName="iconBgRect" presStyleLbl="bgShp" presStyleIdx="1" presStyleCnt="4"/>
      <dgm:spPr/>
    </dgm:pt>
    <dgm:pt modelId="{B73D3130-8063-450F-B496-E722D7E8D742}" type="pres">
      <dgm:prSet presAssocID="{FFA1B2EE-39E2-4D4D-8600-8A28134614BB}" presName="iconRect" presStyleLbl="node1" presStyleIdx="1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D36DDC63-2289-4032-B47E-19AE3D88200E}" type="pres">
      <dgm:prSet presAssocID="{FFA1B2EE-39E2-4D4D-8600-8A28134614BB}" presName="spaceRect" presStyleCnt="0"/>
      <dgm:spPr/>
    </dgm:pt>
    <dgm:pt modelId="{26DCBA13-66F3-4E37-BC62-071B74297878}" type="pres">
      <dgm:prSet presAssocID="{FFA1B2EE-39E2-4D4D-8600-8A28134614BB}" presName="textRect" presStyleLbl="revTx" presStyleIdx="1" presStyleCnt="4">
        <dgm:presLayoutVars>
          <dgm:chMax val="1"/>
          <dgm:chPref val="1"/>
        </dgm:presLayoutVars>
      </dgm:prSet>
      <dgm:spPr/>
    </dgm:pt>
    <dgm:pt modelId="{B3D41209-3E68-4D59-8DB0-1A4EFF451F0B}" type="pres">
      <dgm:prSet presAssocID="{A477F4B4-EF5D-4FDF-8DA6-C636F34CB932}" presName="sibTrans" presStyleLbl="sibTrans2D1" presStyleIdx="0" presStyleCnt="0"/>
      <dgm:spPr/>
    </dgm:pt>
    <dgm:pt modelId="{CECE0AB4-12AA-4082-A417-59677F7F5100}" type="pres">
      <dgm:prSet presAssocID="{AA504F8D-0269-4407-A0DD-D3AF17A85254}" presName="compNode" presStyleCnt="0"/>
      <dgm:spPr/>
    </dgm:pt>
    <dgm:pt modelId="{9A01099F-166C-4726-8FAE-45F057C139AE}" type="pres">
      <dgm:prSet presAssocID="{AA504F8D-0269-4407-A0DD-D3AF17A85254}" presName="iconBgRect" presStyleLbl="bgShp" presStyleIdx="2" presStyleCnt="4"/>
      <dgm:spPr/>
    </dgm:pt>
    <dgm:pt modelId="{186530A6-11CD-4FA2-BD79-42B8041373DC}" type="pres">
      <dgm:prSet presAssocID="{AA504F8D-0269-4407-A0DD-D3AF17A85254}" presName="iconRect" presStyleLbl="node1" presStyleIdx="2" presStyleCnt="4"/>
      <dgm:spPr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topwatch"/>
        </a:ext>
      </dgm:extLst>
    </dgm:pt>
    <dgm:pt modelId="{65C20B51-BBFF-4AA5-BE4B-2E9BF6BE1E55}" type="pres">
      <dgm:prSet presAssocID="{AA504F8D-0269-4407-A0DD-D3AF17A85254}" presName="spaceRect" presStyleCnt="0"/>
      <dgm:spPr/>
    </dgm:pt>
    <dgm:pt modelId="{3053DB78-E905-45AE-9A4C-C1346F0C3A15}" type="pres">
      <dgm:prSet presAssocID="{AA504F8D-0269-4407-A0DD-D3AF17A85254}" presName="textRect" presStyleLbl="revTx" presStyleIdx="2" presStyleCnt="4">
        <dgm:presLayoutVars>
          <dgm:chMax val="1"/>
          <dgm:chPref val="1"/>
        </dgm:presLayoutVars>
      </dgm:prSet>
      <dgm:spPr/>
    </dgm:pt>
    <dgm:pt modelId="{D64DC9A5-FE6A-4E57-907A-5ADFD477AE97}" type="pres">
      <dgm:prSet presAssocID="{1FB440D4-1267-4F13-BD60-B45D2982B949}" presName="sibTrans" presStyleLbl="sibTrans2D1" presStyleIdx="0" presStyleCnt="0"/>
      <dgm:spPr/>
    </dgm:pt>
    <dgm:pt modelId="{30647718-FC2B-49FF-A8DA-5BB9B228629B}" type="pres">
      <dgm:prSet presAssocID="{F1E731F5-6FD0-4AD4-B867-C92A1FA7EEC3}" presName="compNode" presStyleCnt="0"/>
      <dgm:spPr/>
    </dgm:pt>
    <dgm:pt modelId="{8AA142F0-F338-45BD-A09A-E341C2393BFB}" type="pres">
      <dgm:prSet presAssocID="{F1E731F5-6FD0-4AD4-B867-C92A1FA7EEC3}" presName="iconBgRect" presStyleLbl="bgShp" presStyleIdx="3" presStyleCnt="4"/>
      <dgm:spPr/>
    </dgm:pt>
    <dgm:pt modelId="{8FC2CA42-D1FD-4D26-A8A3-12ABAABC9FBF}" type="pres">
      <dgm:prSet presAssocID="{F1E731F5-6FD0-4AD4-B867-C92A1FA7EEC3}" presName="iconRect" presStyleLbl="node1" presStyleIdx="3" presStyleCnt="4"/>
      <dgm:spPr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cooter"/>
        </a:ext>
      </dgm:extLst>
    </dgm:pt>
    <dgm:pt modelId="{BC8BD804-DC41-474B-A4B5-979B72AAA387}" type="pres">
      <dgm:prSet presAssocID="{F1E731F5-6FD0-4AD4-B867-C92A1FA7EEC3}" presName="spaceRect" presStyleCnt="0"/>
      <dgm:spPr/>
    </dgm:pt>
    <dgm:pt modelId="{905827DA-D1C3-4870-846B-AA8F0D2B2870}" type="pres">
      <dgm:prSet presAssocID="{F1E731F5-6FD0-4AD4-B867-C92A1FA7EEC3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7737B117-71CD-4B39-8B7C-25FE3A900E7C}" srcId="{54BF07E9-5B5C-49B6-B1F1-DBC374039C73}" destId="{F1E731F5-6FD0-4AD4-B867-C92A1FA7EEC3}" srcOrd="3" destOrd="0" parTransId="{1B1D3B67-61CA-4C6A-9AE0-6D235AB2B5AC}" sibTransId="{117A0813-8971-4477-A18D-031658078499}"/>
    <dgm:cxn modelId="{3134251A-D7DE-084D-8BD3-41F468F0B37E}" type="presOf" srcId="{F1E731F5-6FD0-4AD4-B867-C92A1FA7EEC3}" destId="{905827DA-D1C3-4870-846B-AA8F0D2B2870}" srcOrd="0" destOrd="0" presId="urn:microsoft.com/office/officeart/2018/2/layout/IconCircleList"/>
    <dgm:cxn modelId="{FD5BF11E-1DB9-8045-8511-879716422AC1}" type="presOf" srcId="{622C047E-94ED-4488-9053-DBDFF03615AC}" destId="{B2A7D65D-8B0A-4A77-9441-012488AD3DD7}" srcOrd="0" destOrd="0" presId="urn:microsoft.com/office/officeart/2018/2/layout/IconCircleList"/>
    <dgm:cxn modelId="{78917733-04CC-CD46-A418-D83ACC6424EF}" type="presOf" srcId="{54BF07E9-5B5C-49B6-B1F1-DBC374039C73}" destId="{B8CD00E7-1627-410A-B5C9-85F3385F9CBB}" srcOrd="0" destOrd="0" presId="urn:microsoft.com/office/officeart/2018/2/layout/IconCircleList"/>
    <dgm:cxn modelId="{D67E157C-1283-4E46-8E3B-61A3A5278C8D}" type="presOf" srcId="{8EDFF7FA-7AEC-42BA-98F9-DFC6C407B7A2}" destId="{01FAD582-3F40-42E8-AD8C-B87E26F01505}" srcOrd="0" destOrd="0" presId="urn:microsoft.com/office/officeart/2018/2/layout/IconCircleList"/>
    <dgm:cxn modelId="{BB7257AA-8B0F-274C-8CA8-A64319DC1CEE}" type="presOf" srcId="{AA504F8D-0269-4407-A0DD-D3AF17A85254}" destId="{3053DB78-E905-45AE-9A4C-C1346F0C3A15}" srcOrd="0" destOrd="0" presId="urn:microsoft.com/office/officeart/2018/2/layout/IconCircleList"/>
    <dgm:cxn modelId="{CF2B3EAC-A8FA-CD4D-9A3C-B0DDC2E1EB86}" type="presOf" srcId="{FFA1B2EE-39E2-4D4D-8600-8A28134614BB}" destId="{26DCBA13-66F3-4E37-BC62-071B74297878}" srcOrd="0" destOrd="0" presId="urn:microsoft.com/office/officeart/2018/2/layout/IconCircleList"/>
    <dgm:cxn modelId="{2AFD35BE-252B-3242-BD01-9E559CF781BA}" type="presOf" srcId="{1FB440D4-1267-4F13-BD60-B45D2982B949}" destId="{D64DC9A5-FE6A-4E57-907A-5ADFD477AE97}" srcOrd="0" destOrd="0" presId="urn:microsoft.com/office/officeart/2018/2/layout/IconCircleList"/>
    <dgm:cxn modelId="{CCBB80C9-DA7C-4421-9626-4198EA9E5071}" srcId="{54BF07E9-5B5C-49B6-B1F1-DBC374039C73}" destId="{AA504F8D-0269-4407-A0DD-D3AF17A85254}" srcOrd="2" destOrd="0" parTransId="{B61A842D-86D2-4D42-AD8F-E493D2647C3F}" sibTransId="{1FB440D4-1267-4F13-BD60-B45D2982B949}"/>
    <dgm:cxn modelId="{EE66CBED-B11C-46D5-9AF4-312C94FB62C3}" srcId="{54BF07E9-5B5C-49B6-B1F1-DBC374039C73}" destId="{FFA1B2EE-39E2-4D4D-8600-8A28134614BB}" srcOrd="1" destOrd="0" parTransId="{0E722718-F16C-48AB-B006-F69F9DA619F6}" sibTransId="{A477F4B4-EF5D-4FDF-8DA6-C636F34CB932}"/>
    <dgm:cxn modelId="{FBF210FB-F47F-DB43-86AE-E885E5E61CD9}" type="presOf" srcId="{A477F4B4-EF5D-4FDF-8DA6-C636F34CB932}" destId="{B3D41209-3E68-4D59-8DB0-1A4EFF451F0B}" srcOrd="0" destOrd="0" presId="urn:microsoft.com/office/officeart/2018/2/layout/IconCircleList"/>
    <dgm:cxn modelId="{432223FF-8EF6-469E-BF95-02DD2515DDDA}" srcId="{54BF07E9-5B5C-49B6-B1F1-DBC374039C73}" destId="{622C047E-94ED-4488-9053-DBDFF03615AC}" srcOrd="0" destOrd="0" parTransId="{3B0B8F1E-BAB5-4AE4-9F8E-256D50C7FB63}" sibTransId="{8EDFF7FA-7AEC-42BA-98F9-DFC6C407B7A2}"/>
    <dgm:cxn modelId="{A260187F-7860-F54E-BF5E-2955C1C1FF24}" type="presParOf" srcId="{B8CD00E7-1627-410A-B5C9-85F3385F9CBB}" destId="{B2092592-54B2-4EBA-9221-C0D8E04AACF2}" srcOrd="0" destOrd="0" presId="urn:microsoft.com/office/officeart/2018/2/layout/IconCircleList"/>
    <dgm:cxn modelId="{A61C82E0-973B-2346-BB65-74DEEA93E429}" type="presParOf" srcId="{B2092592-54B2-4EBA-9221-C0D8E04AACF2}" destId="{C24928B1-5B62-4FB8-A0C8-C0AEED14087A}" srcOrd="0" destOrd="0" presId="urn:microsoft.com/office/officeart/2018/2/layout/IconCircleList"/>
    <dgm:cxn modelId="{0355292C-B715-2244-903E-5B5A2F442FC7}" type="presParOf" srcId="{C24928B1-5B62-4FB8-A0C8-C0AEED14087A}" destId="{66644187-D922-4968-9888-BA97249AB9E3}" srcOrd="0" destOrd="0" presId="urn:microsoft.com/office/officeart/2018/2/layout/IconCircleList"/>
    <dgm:cxn modelId="{A251F64D-A763-D043-8EB1-45B19073842E}" type="presParOf" srcId="{C24928B1-5B62-4FB8-A0C8-C0AEED14087A}" destId="{AC231FC8-C988-4D54-8877-3E4A021843A1}" srcOrd="1" destOrd="0" presId="urn:microsoft.com/office/officeart/2018/2/layout/IconCircleList"/>
    <dgm:cxn modelId="{B492C2D7-18D3-8545-ADA2-DF85857AF501}" type="presParOf" srcId="{C24928B1-5B62-4FB8-A0C8-C0AEED14087A}" destId="{640AEFC8-4142-4E9A-A5FF-E65DFC598FBA}" srcOrd="2" destOrd="0" presId="urn:microsoft.com/office/officeart/2018/2/layout/IconCircleList"/>
    <dgm:cxn modelId="{AB9D6AEA-59EA-3042-BFF5-AC698D187FE0}" type="presParOf" srcId="{C24928B1-5B62-4FB8-A0C8-C0AEED14087A}" destId="{B2A7D65D-8B0A-4A77-9441-012488AD3DD7}" srcOrd="3" destOrd="0" presId="urn:microsoft.com/office/officeart/2018/2/layout/IconCircleList"/>
    <dgm:cxn modelId="{6F171C19-31C1-DF46-BD7D-D9E6EB3DB419}" type="presParOf" srcId="{B2092592-54B2-4EBA-9221-C0D8E04AACF2}" destId="{01FAD582-3F40-42E8-AD8C-B87E26F01505}" srcOrd="1" destOrd="0" presId="urn:microsoft.com/office/officeart/2018/2/layout/IconCircleList"/>
    <dgm:cxn modelId="{A5CC31F0-A66B-C84A-995C-B6E18F8971E7}" type="presParOf" srcId="{B2092592-54B2-4EBA-9221-C0D8E04AACF2}" destId="{873F31EE-0B89-42D1-89F4-09585AF2CCD2}" srcOrd="2" destOrd="0" presId="urn:microsoft.com/office/officeart/2018/2/layout/IconCircleList"/>
    <dgm:cxn modelId="{75CBDA93-976D-9446-A190-3D620F577D09}" type="presParOf" srcId="{873F31EE-0B89-42D1-89F4-09585AF2CCD2}" destId="{DFF183D4-1D4B-48AF-96BE-952372D6A5BF}" srcOrd="0" destOrd="0" presId="urn:microsoft.com/office/officeart/2018/2/layout/IconCircleList"/>
    <dgm:cxn modelId="{5DF88B4A-9CD4-124E-B404-A5B17101D58E}" type="presParOf" srcId="{873F31EE-0B89-42D1-89F4-09585AF2CCD2}" destId="{B73D3130-8063-450F-B496-E722D7E8D742}" srcOrd="1" destOrd="0" presId="urn:microsoft.com/office/officeart/2018/2/layout/IconCircleList"/>
    <dgm:cxn modelId="{B8C3B6D9-ACEA-EF41-8A84-71476B594EB5}" type="presParOf" srcId="{873F31EE-0B89-42D1-89F4-09585AF2CCD2}" destId="{D36DDC63-2289-4032-B47E-19AE3D88200E}" srcOrd="2" destOrd="0" presId="urn:microsoft.com/office/officeart/2018/2/layout/IconCircleList"/>
    <dgm:cxn modelId="{8BEFD1CD-E8C2-4C43-885A-EE18961A2943}" type="presParOf" srcId="{873F31EE-0B89-42D1-89F4-09585AF2CCD2}" destId="{26DCBA13-66F3-4E37-BC62-071B74297878}" srcOrd="3" destOrd="0" presId="urn:microsoft.com/office/officeart/2018/2/layout/IconCircleList"/>
    <dgm:cxn modelId="{3510B410-4282-994F-A51F-032EC662D540}" type="presParOf" srcId="{B2092592-54B2-4EBA-9221-C0D8E04AACF2}" destId="{B3D41209-3E68-4D59-8DB0-1A4EFF451F0B}" srcOrd="3" destOrd="0" presId="urn:microsoft.com/office/officeart/2018/2/layout/IconCircleList"/>
    <dgm:cxn modelId="{AC7AF9C9-7127-C249-B869-4FE6DB809E70}" type="presParOf" srcId="{B2092592-54B2-4EBA-9221-C0D8E04AACF2}" destId="{CECE0AB4-12AA-4082-A417-59677F7F5100}" srcOrd="4" destOrd="0" presId="urn:microsoft.com/office/officeart/2018/2/layout/IconCircleList"/>
    <dgm:cxn modelId="{734BAE19-EAC2-AD4D-B056-D7E03BA8EDAB}" type="presParOf" srcId="{CECE0AB4-12AA-4082-A417-59677F7F5100}" destId="{9A01099F-166C-4726-8FAE-45F057C139AE}" srcOrd="0" destOrd="0" presId="urn:microsoft.com/office/officeart/2018/2/layout/IconCircleList"/>
    <dgm:cxn modelId="{21050B0C-C6F4-BE48-9052-3D8BE0AE0653}" type="presParOf" srcId="{CECE0AB4-12AA-4082-A417-59677F7F5100}" destId="{186530A6-11CD-4FA2-BD79-42B8041373DC}" srcOrd="1" destOrd="0" presId="urn:microsoft.com/office/officeart/2018/2/layout/IconCircleList"/>
    <dgm:cxn modelId="{D62CA3F5-4AA0-534F-A79E-A8B6493529DF}" type="presParOf" srcId="{CECE0AB4-12AA-4082-A417-59677F7F5100}" destId="{65C20B51-BBFF-4AA5-BE4B-2E9BF6BE1E55}" srcOrd="2" destOrd="0" presId="urn:microsoft.com/office/officeart/2018/2/layout/IconCircleList"/>
    <dgm:cxn modelId="{F6FB8D67-7095-2348-BFC8-2C5F383A0FBD}" type="presParOf" srcId="{CECE0AB4-12AA-4082-A417-59677F7F5100}" destId="{3053DB78-E905-45AE-9A4C-C1346F0C3A15}" srcOrd="3" destOrd="0" presId="urn:microsoft.com/office/officeart/2018/2/layout/IconCircleList"/>
    <dgm:cxn modelId="{4119CF4E-5376-2F45-9F69-10095A439DB6}" type="presParOf" srcId="{B2092592-54B2-4EBA-9221-C0D8E04AACF2}" destId="{D64DC9A5-FE6A-4E57-907A-5ADFD477AE97}" srcOrd="5" destOrd="0" presId="urn:microsoft.com/office/officeart/2018/2/layout/IconCircleList"/>
    <dgm:cxn modelId="{EF2C500F-4202-DD42-A57B-1F6BD2903C0F}" type="presParOf" srcId="{B2092592-54B2-4EBA-9221-C0D8E04AACF2}" destId="{30647718-FC2B-49FF-A8DA-5BB9B228629B}" srcOrd="6" destOrd="0" presId="urn:microsoft.com/office/officeart/2018/2/layout/IconCircleList"/>
    <dgm:cxn modelId="{A688FC96-61D7-CC44-9994-D2C46858EF30}" type="presParOf" srcId="{30647718-FC2B-49FF-A8DA-5BB9B228629B}" destId="{8AA142F0-F338-45BD-A09A-E341C2393BFB}" srcOrd="0" destOrd="0" presId="urn:microsoft.com/office/officeart/2018/2/layout/IconCircleList"/>
    <dgm:cxn modelId="{944541AC-49D1-6647-9662-0E6EC163B0C0}" type="presParOf" srcId="{30647718-FC2B-49FF-A8DA-5BB9B228629B}" destId="{8FC2CA42-D1FD-4D26-A8A3-12ABAABC9FBF}" srcOrd="1" destOrd="0" presId="urn:microsoft.com/office/officeart/2018/2/layout/IconCircleList"/>
    <dgm:cxn modelId="{69A2C3A8-F0C9-2C42-9471-12156C7CA5EA}" type="presParOf" srcId="{30647718-FC2B-49FF-A8DA-5BB9B228629B}" destId="{BC8BD804-DC41-474B-A4B5-979B72AAA387}" srcOrd="2" destOrd="0" presId="urn:microsoft.com/office/officeart/2018/2/layout/IconCircleList"/>
    <dgm:cxn modelId="{9382EAEE-0B53-8447-B898-F542666E5E61}" type="presParOf" srcId="{30647718-FC2B-49FF-A8DA-5BB9B228629B}" destId="{905827DA-D1C3-4870-846B-AA8F0D2B2870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9E368B8-A6DE-4D04-97DD-F274B61AD33A}" type="doc">
      <dgm:prSet loTypeId="urn:microsoft.com/office/officeart/2018/5/layout/IconCircleLabelList" loCatId="icon" qsTypeId="urn:microsoft.com/office/officeart/2005/8/quickstyle/simple1" qsCatId="simple" csTypeId="urn:microsoft.com/office/officeart/2018/5/colors/Iconchunking_neutralicon_colorful1" csCatId="colorful" phldr="1"/>
      <dgm:spPr/>
      <dgm:t>
        <a:bodyPr/>
        <a:lstStyle/>
        <a:p>
          <a:endParaRPr lang="en-US"/>
        </a:p>
      </dgm:t>
    </dgm:pt>
    <dgm:pt modelId="{2D2B641F-EAD0-4971-88D4-2364D3F61E6E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DE"/>
            <a:t>Unit Testing</a:t>
          </a:r>
          <a:endParaRPr lang="en-US"/>
        </a:p>
      </dgm:t>
    </dgm:pt>
    <dgm:pt modelId="{8C9A31FD-571A-433E-B079-D95934276C58}" type="parTrans" cxnId="{FF0C5E8C-451C-4502-9D2C-8F02F368138F}">
      <dgm:prSet/>
      <dgm:spPr/>
      <dgm:t>
        <a:bodyPr/>
        <a:lstStyle/>
        <a:p>
          <a:endParaRPr lang="en-US"/>
        </a:p>
      </dgm:t>
    </dgm:pt>
    <dgm:pt modelId="{5612152F-333C-40D4-BDD4-F0ED40F33DCA}" type="sibTrans" cxnId="{FF0C5E8C-451C-4502-9D2C-8F02F368138F}">
      <dgm:prSet/>
      <dgm:spPr/>
      <dgm:t>
        <a:bodyPr/>
        <a:lstStyle/>
        <a:p>
          <a:endParaRPr lang="en-US"/>
        </a:p>
      </dgm:t>
    </dgm:pt>
    <dgm:pt modelId="{07EFF51C-D9FA-4725-9E70-FF81EDA87269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DE"/>
            <a:t>REST API Testing with Postman</a:t>
          </a:r>
          <a:endParaRPr lang="en-US"/>
        </a:p>
      </dgm:t>
    </dgm:pt>
    <dgm:pt modelId="{AC34CC82-1367-4164-8697-F761B33E6F54}" type="parTrans" cxnId="{CAE78882-4496-459D-B0C8-C00677994EA2}">
      <dgm:prSet/>
      <dgm:spPr/>
      <dgm:t>
        <a:bodyPr/>
        <a:lstStyle/>
        <a:p>
          <a:endParaRPr lang="en-US"/>
        </a:p>
      </dgm:t>
    </dgm:pt>
    <dgm:pt modelId="{647A01CC-1E94-4128-8406-2037CC4A8C20}" type="sibTrans" cxnId="{CAE78882-4496-459D-B0C8-C00677994EA2}">
      <dgm:prSet/>
      <dgm:spPr/>
      <dgm:t>
        <a:bodyPr/>
        <a:lstStyle/>
        <a:p>
          <a:endParaRPr lang="en-US"/>
        </a:p>
      </dgm:t>
    </dgm:pt>
    <dgm:pt modelId="{BCA50F32-5768-47C4-B879-912B2F577661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DE"/>
            <a:t>Functionality Testing</a:t>
          </a:r>
          <a:endParaRPr lang="en-US"/>
        </a:p>
      </dgm:t>
    </dgm:pt>
    <dgm:pt modelId="{90D24026-B7C8-4BF7-892C-33B2ECB16A3C}" type="parTrans" cxnId="{754A9F14-DF99-4B5B-B1BA-0061616B80B1}">
      <dgm:prSet/>
      <dgm:spPr/>
      <dgm:t>
        <a:bodyPr/>
        <a:lstStyle/>
        <a:p>
          <a:endParaRPr lang="en-US"/>
        </a:p>
      </dgm:t>
    </dgm:pt>
    <dgm:pt modelId="{B2C4A3FB-4098-4DBE-86D9-18DFF391176B}" type="sibTrans" cxnId="{754A9F14-DF99-4B5B-B1BA-0061616B80B1}">
      <dgm:prSet/>
      <dgm:spPr/>
      <dgm:t>
        <a:bodyPr/>
        <a:lstStyle/>
        <a:p>
          <a:endParaRPr lang="en-US"/>
        </a:p>
      </dgm:t>
    </dgm:pt>
    <dgm:pt modelId="{42755033-D1D5-448A-BFFC-DA6C7B86B99E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DE"/>
            <a:t>Integration testing</a:t>
          </a:r>
          <a:endParaRPr lang="en-US"/>
        </a:p>
      </dgm:t>
    </dgm:pt>
    <dgm:pt modelId="{001695E6-0C85-47A3-AF4D-0B01B227C1AE}" type="parTrans" cxnId="{40B83934-2395-492B-BD62-73526BA4C022}">
      <dgm:prSet/>
      <dgm:spPr/>
      <dgm:t>
        <a:bodyPr/>
        <a:lstStyle/>
        <a:p>
          <a:endParaRPr lang="en-US"/>
        </a:p>
      </dgm:t>
    </dgm:pt>
    <dgm:pt modelId="{637BECFA-B074-4D96-AD9D-E37D805304F4}" type="sibTrans" cxnId="{40B83934-2395-492B-BD62-73526BA4C022}">
      <dgm:prSet/>
      <dgm:spPr/>
      <dgm:t>
        <a:bodyPr/>
        <a:lstStyle/>
        <a:p>
          <a:endParaRPr lang="en-US"/>
        </a:p>
      </dgm:t>
    </dgm:pt>
    <dgm:pt modelId="{69637A69-688B-45FB-A331-2A0E8DC2EC72}" type="pres">
      <dgm:prSet presAssocID="{E9E368B8-A6DE-4D04-97DD-F274B61AD33A}" presName="root" presStyleCnt="0">
        <dgm:presLayoutVars>
          <dgm:dir/>
          <dgm:resizeHandles val="exact"/>
        </dgm:presLayoutVars>
      </dgm:prSet>
      <dgm:spPr/>
    </dgm:pt>
    <dgm:pt modelId="{B31D7A4B-46B7-4E1E-A662-A2D38172ADCA}" type="pres">
      <dgm:prSet presAssocID="{2D2B641F-EAD0-4971-88D4-2364D3F61E6E}" presName="compNode" presStyleCnt="0"/>
      <dgm:spPr/>
    </dgm:pt>
    <dgm:pt modelId="{ABC9F100-F73C-4E0E-94BB-1B4586AB07B6}" type="pres">
      <dgm:prSet presAssocID="{2D2B641F-EAD0-4971-88D4-2364D3F61E6E}" presName="iconBgRect" presStyleLbl="bgShp" presStyleIdx="0" presStyleCnt="4"/>
      <dgm:spPr/>
    </dgm:pt>
    <dgm:pt modelId="{A51D1613-964F-4DDC-87AE-998B7A48CAD0}" type="pres">
      <dgm:prSet presAssocID="{2D2B641F-EAD0-4971-88D4-2364D3F61E6E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ick"/>
        </a:ext>
      </dgm:extLst>
    </dgm:pt>
    <dgm:pt modelId="{D0BC5798-4A6F-47E9-8691-C2819684FB71}" type="pres">
      <dgm:prSet presAssocID="{2D2B641F-EAD0-4971-88D4-2364D3F61E6E}" presName="spaceRect" presStyleCnt="0"/>
      <dgm:spPr/>
    </dgm:pt>
    <dgm:pt modelId="{AB599F81-82C9-4CBA-931C-4C7957648E21}" type="pres">
      <dgm:prSet presAssocID="{2D2B641F-EAD0-4971-88D4-2364D3F61E6E}" presName="textRect" presStyleLbl="revTx" presStyleIdx="0" presStyleCnt="4">
        <dgm:presLayoutVars>
          <dgm:chMax val="1"/>
          <dgm:chPref val="1"/>
        </dgm:presLayoutVars>
      </dgm:prSet>
      <dgm:spPr/>
    </dgm:pt>
    <dgm:pt modelId="{6C5B4860-39D9-4727-A3B2-A31FABFDC2AA}" type="pres">
      <dgm:prSet presAssocID="{5612152F-333C-40D4-BDD4-F0ED40F33DCA}" presName="sibTrans" presStyleCnt="0"/>
      <dgm:spPr/>
    </dgm:pt>
    <dgm:pt modelId="{49DD7D58-2FCA-4881-B596-47D227D8A01E}" type="pres">
      <dgm:prSet presAssocID="{07EFF51C-D9FA-4725-9E70-FF81EDA87269}" presName="compNode" presStyleCnt="0"/>
      <dgm:spPr/>
    </dgm:pt>
    <dgm:pt modelId="{30862569-E37D-4AD7-8F4B-0E8C95E7C272}" type="pres">
      <dgm:prSet presAssocID="{07EFF51C-D9FA-4725-9E70-FF81EDA87269}" presName="iconBgRect" presStyleLbl="bgShp" presStyleIdx="1" presStyleCnt="4"/>
      <dgm:spPr/>
    </dgm:pt>
    <dgm:pt modelId="{62E4CFE9-33CB-4E33-A34A-06CA65E4A40D}" type="pres">
      <dgm:prSet presAssocID="{07EFF51C-D9FA-4725-9E70-FF81EDA87269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"/>
        </a:ext>
      </dgm:extLst>
    </dgm:pt>
    <dgm:pt modelId="{7A805AF3-5E2E-43FA-A973-89213DD76599}" type="pres">
      <dgm:prSet presAssocID="{07EFF51C-D9FA-4725-9E70-FF81EDA87269}" presName="spaceRect" presStyleCnt="0"/>
      <dgm:spPr/>
    </dgm:pt>
    <dgm:pt modelId="{8075FC0A-FC95-440F-B8F8-A3C896AFDEED}" type="pres">
      <dgm:prSet presAssocID="{07EFF51C-D9FA-4725-9E70-FF81EDA87269}" presName="textRect" presStyleLbl="revTx" presStyleIdx="1" presStyleCnt="4">
        <dgm:presLayoutVars>
          <dgm:chMax val="1"/>
          <dgm:chPref val="1"/>
        </dgm:presLayoutVars>
      </dgm:prSet>
      <dgm:spPr/>
    </dgm:pt>
    <dgm:pt modelId="{E8F040A4-9A1B-4616-8816-0CF98E90A1F0}" type="pres">
      <dgm:prSet presAssocID="{647A01CC-1E94-4128-8406-2037CC4A8C20}" presName="sibTrans" presStyleCnt="0"/>
      <dgm:spPr/>
    </dgm:pt>
    <dgm:pt modelId="{DA00B789-BCE8-46DF-A96E-C69958F2424E}" type="pres">
      <dgm:prSet presAssocID="{BCA50F32-5768-47C4-B879-912B2F577661}" presName="compNode" presStyleCnt="0"/>
      <dgm:spPr/>
    </dgm:pt>
    <dgm:pt modelId="{A7963AE9-639C-4FA0-93D9-D26E60C233DE}" type="pres">
      <dgm:prSet presAssocID="{BCA50F32-5768-47C4-B879-912B2F577661}" presName="iconBgRect" presStyleLbl="bgShp" presStyleIdx="2" presStyleCnt="4"/>
      <dgm:spPr/>
    </dgm:pt>
    <dgm:pt modelId="{09D190D3-2527-49E0-9282-1F2434F72C90}" type="pres">
      <dgm:prSet presAssocID="{BCA50F32-5768-47C4-B879-912B2F577661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List"/>
        </a:ext>
      </dgm:extLst>
    </dgm:pt>
    <dgm:pt modelId="{B0E34430-1356-49EC-987D-100E7853F940}" type="pres">
      <dgm:prSet presAssocID="{BCA50F32-5768-47C4-B879-912B2F577661}" presName="spaceRect" presStyleCnt="0"/>
      <dgm:spPr/>
    </dgm:pt>
    <dgm:pt modelId="{E1EAC4C4-5D33-4FEC-BDC2-9834FAB9A910}" type="pres">
      <dgm:prSet presAssocID="{BCA50F32-5768-47C4-B879-912B2F577661}" presName="textRect" presStyleLbl="revTx" presStyleIdx="2" presStyleCnt="4">
        <dgm:presLayoutVars>
          <dgm:chMax val="1"/>
          <dgm:chPref val="1"/>
        </dgm:presLayoutVars>
      </dgm:prSet>
      <dgm:spPr/>
    </dgm:pt>
    <dgm:pt modelId="{FD03B150-3546-4AB5-9DAB-D19873B1DAA3}" type="pres">
      <dgm:prSet presAssocID="{B2C4A3FB-4098-4DBE-86D9-18DFF391176B}" presName="sibTrans" presStyleCnt="0"/>
      <dgm:spPr/>
    </dgm:pt>
    <dgm:pt modelId="{3565E65C-226D-4650-A1DD-38C17E811C25}" type="pres">
      <dgm:prSet presAssocID="{42755033-D1D5-448A-BFFC-DA6C7B86B99E}" presName="compNode" presStyleCnt="0"/>
      <dgm:spPr/>
    </dgm:pt>
    <dgm:pt modelId="{1D59AC2D-677D-44A5-BE02-1A3A5343B7E0}" type="pres">
      <dgm:prSet presAssocID="{42755033-D1D5-448A-BFFC-DA6C7B86B99E}" presName="iconBgRect" presStyleLbl="bgShp" presStyleIdx="3" presStyleCnt="4"/>
      <dgm:spPr/>
    </dgm:pt>
    <dgm:pt modelId="{5A010B34-8036-400C-9E18-0A4A7482D200}" type="pres">
      <dgm:prSet presAssocID="{42755033-D1D5-448A-BFFC-DA6C7B86B99E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96A62217-1273-409F-A3B0-D578D2EEEB5C}" type="pres">
      <dgm:prSet presAssocID="{42755033-D1D5-448A-BFFC-DA6C7B86B99E}" presName="spaceRect" presStyleCnt="0"/>
      <dgm:spPr/>
    </dgm:pt>
    <dgm:pt modelId="{852CA35F-7D61-4FAC-BE05-54571B80DD6A}" type="pres">
      <dgm:prSet presAssocID="{42755033-D1D5-448A-BFFC-DA6C7B86B99E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754A9F14-DF99-4B5B-B1BA-0061616B80B1}" srcId="{E9E368B8-A6DE-4D04-97DD-F274B61AD33A}" destId="{BCA50F32-5768-47C4-B879-912B2F577661}" srcOrd="2" destOrd="0" parTransId="{90D24026-B7C8-4BF7-892C-33B2ECB16A3C}" sibTransId="{B2C4A3FB-4098-4DBE-86D9-18DFF391176B}"/>
    <dgm:cxn modelId="{40B83934-2395-492B-BD62-73526BA4C022}" srcId="{E9E368B8-A6DE-4D04-97DD-F274B61AD33A}" destId="{42755033-D1D5-448A-BFFC-DA6C7B86B99E}" srcOrd="3" destOrd="0" parTransId="{001695E6-0C85-47A3-AF4D-0B01B227C1AE}" sibTransId="{637BECFA-B074-4D96-AD9D-E37D805304F4}"/>
    <dgm:cxn modelId="{E2574669-1C47-FC49-9DAC-52561C72BBB5}" type="presOf" srcId="{42755033-D1D5-448A-BFFC-DA6C7B86B99E}" destId="{852CA35F-7D61-4FAC-BE05-54571B80DD6A}" srcOrd="0" destOrd="0" presId="urn:microsoft.com/office/officeart/2018/5/layout/IconCircleLabelList"/>
    <dgm:cxn modelId="{C058A875-10E4-4745-8BFD-B818039733F8}" type="presOf" srcId="{E9E368B8-A6DE-4D04-97DD-F274B61AD33A}" destId="{69637A69-688B-45FB-A331-2A0E8DC2EC72}" srcOrd="0" destOrd="0" presId="urn:microsoft.com/office/officeart/2018/5/layout/IconCircleLabelList"/>
    <dgm:cxn modelId="{CAE78882-4496-459D-B0C8-C00677994EA2}" srcId="{E9E368B8-A6DE-4D04-97DD-F274B61AD33A}" destId="{07EFF51C-D9FA-4725-9E70-FF81EDA87269}" srcOrd="1" destOrd="0" parTransId="{AC34CC82-1367-4164-8697-F761B33E6F54}" sibTransId="{647A01CC-1E94-4128-8406-2037CC4A8C20}"/>
    <dgm:cxn modelId="{FF0C5E8C-451C-4502-9D2C-8F02F368138F}" srcId="{E9E368B8-A6DE-4D04-97DD-F274B61AD33A}" destId="{2D2B641F-EAD0-4971-88D4-2364D3F61E6E}" srcOrd="0" destOrd="0" parTransId="{8C9A31FD-571A-433E-B079-D95934276C58}" sibTransId="{5612152F-333C-40D4-BDD4-F0ED40F33DCA}"/>
    <dgm:cxn modelId="{6F8FE192-542D-2447-8D01-3010CD7646E5}" type="presOf" srcId="{07EFF51C-D9FA-4725-9E70-FF81EDA87269}" destId="{8075FC0A-FC95-440F-B8F8-A3C896AFDEED}" srcOrd="0" destOrd="0" presId="urn:microsoft.com/office/officeart/2018/5/layout/IconCircleLabelList"/>
    <dgm:cxn modelId="{AF90DDA4-EE9B-5948-ABCB-414FCF8D24D9}" type="presOf" srcId="{2D2B641F-EAD0-4971-88D4-2364D3F61E6E}" destId="{AB599F81-82C9-4CBA-931C-4C7957648E21}" srcOrd="0" destOrd="0" presId="urn:microsoft.com/office/officeart/2018/5/layout/IconCircleLabelList"/>
    <dgm:cxn modelId="{9053D8E9-20DC-454E-847C-EA89EFA6A112}" type="presOf" srcId="{BCA50F32-5768-47C4-B879-912B2F577661}" destId="{E1EAC4C4-5D33-4FEC-BDC2-9834FAB9A910}" srcOrd="0" destOrd="0" presId="urn:microsoft.com/office/officeart/2018/5/layout/IconCircleLabelList"/>
    <dgm:cxn modelId="{FD4A11AA-783E-3F44-9F1F-15EFEB3C0B1D}" type="presParOf" srcId="{69637A69-688B-45FB-A331-2A0E8DC2EC72}" destId="{B31D7A4B-46B7-4E1E-A662-A2D38172ADCA}" srcOrd="0" destOrd="0" presId="urn:microsoft.com/office/officeart/2018/5/layout/IconCircleLabelList"/>
    <dgm:cxn modelId="{30993565-596A-824E-B59D-7E0F25FAD2F1}" type="presParOf" srcId="{B31D7A4B-46B7-4E1E-A662-A2D38172ADCA}" destId="{ABC9F100-F73C-4E0E-94BB-1B4586AB07B6}" srcOrd="0" destOrd="0" presId="urn:microsoft.com/office/officeart/2018/5/layout/IconCircleLabelList"/>
    <dgm:cxn modelId="{11B49E8C-7613-924B-BB3E-1AAE16092E1D}" type="presParOf" srcId="{B31D7A4B-46B7-4E1E-A662-A2D38172ADCA}" destId="{A51D1613-964F-4DDC-87AE-998B7A48CAD0}" srcOrd="1" destOrd="0" presId="urn:microsoft.com/office/officeart/2018/5/layout/IconCircleLabelList"/>
    <dgm:cxn modelId="{49A7E2DA-FEF6-1C4D-9323-D2540720FB2E}" type="presParOf" srcId="{B31D7A4B-46B7-4E1E-A662-A2D38172ADCA}" destId="{D0BC5798-4A6F-47E9-8691-C2819684FB71}" srcOrd="2" destOrd="0" presId="urn:microsoft.com/office/officeart/2018/5/layout/IconCircleLabelList"/>
    <dgm:cxn modelId="{DDF7E8CA-248A-A040-95B5-ED9CC32A9075}" type="presParOf" srcId="{B31D7A4B-46B7-4E1E-A662-A2D38172ADCA}" destId="{AB599F81-82C9-4CBA-931C-4C7957648E21}" srcOrd="3" destOrd="0" presId="urn:microsoft.com/office/officeart/2018/5/layout/IconCircleLabelList"/>
    <dgm:cxn modelId="{ABEF7AD1-0D2C-E24A-8F57-B8D7E45C7A1B}" type="presParOf" srcId="{69637A69-688B-45FB-A331-2A0E8DC2EC72}" destId="{6C5B4860-39D9-4727-A3B2-A31FABFDC2AA}" srcOrd="1" destOrd="0" presId="urn:microsoft.com/office/officeart/2018/5/layout/IconCircleLabelList"/>
    <dgm:cxn modelId="{D1966604-B321-E34E-B97B-EF42E0A2F552}" type="presParOf" srcId="{69637A69-688B-45FB-A331-2A0E8DC2EC72}" destId="{49DD7D58-2FCA-4881-B596-47D227D8A01E}" srcOrd="2" destOrd="0" presId="urn:microsoft.com/office/officeart/2018/5/layout/IconCircleLabelList"/>
    <dgm:cxn modelId="{5AF1437E-07DF-3043-8847-234A1B6F962A}" type="presParOf" srcId="{49DD7D58-2FCA-4881-B596-47D227D8A01E}" destId="{30862569-E37D-4AD7-8F4B-0E8C95E7C272}" srcOrd="0" destOrd="0" presId="urn:microsoft.com/office/officeart/2018/5/layout/IconCircleLabelList"/>
    <dgm:cxn modelId="{A3CCBA33-C4E0-2D4E-914D-1DF0CAD35816}" type="presParOf" srcId="{49DD7D58-2FCA-4881-B596-47D227D8A01E}" destId="{62E4CFE9-33CB-4E33-A34A-06CA65E4A40D}" srcOrd="1" destOrd="0" presId="urn:microsoft.com/office/officeart/2018/5/layout/IconCircleLabelList"/>
    <dgm:cxn modelId="{F6D46A7B-6EFC-6844-993B-9110BA095FA6}" type="presParOf" srcId="{49DD7D58-2FCA-4881-B596-47D227D8A01E}" destId="{7A805AF3-5E2E-43FA-A973-89213DD76599}" srcOrd="2" destOrd="0" presId="urn:microsoft.com/office/officeart/2018/5/layout/IconCircleLabelList"/>
    <dgm:cxn modelId="{A3FBA344-9F9C-C24E-A1FE-3DDECF18132F}" type="presParOf" srcId="{49DD7D58-2FCA-4881-B596-47D227D8A01E}" destId="{8075FC0A-FC95-440F-B8F8-A3C896AFDEED}" srcOrd="3" destOrd="0" presId="urn:microsoft.com/office/officeart/2018/5/layout/IconCircleLabelList"/>
    <dgm:cxn modelId="{A08BEA70-5EF4-F841-8276-8A7154D17CD3}" type="presParOf" srcId="{69637A69-688B-45FB-A331-2A0E8DC2EC72}" destId="{E8F040A4-9A1B-4616-8816-0CF98E90A1F0}" srcOrd="3" destOrd="0" presId="urn:microsoft.com/office/officeart/2018/5/layout/IconCircleLabelList"/>
    <dgm:cxn modelId="{5E1AE018-36E6-234D-89BC-1F7B74462F01}" type="presParOf" srcId="{69637A69-688B-45FB-A331-2A0E8DC2EC72}" destId="{DA00B789-BCE8-46DF-A96E-C69958F2424E}" srcOrd="4" destOrd="0" presId="urn:microsoft.com/office/officeart/2018/5/layout/IconCircleLabelList"/>
    <dgm:cxn modelId="{B8475DA4-6390-F242-A3A3-7F8F9B5B10E6}" type="presParOf" srcId="{DA00B789-BCE8-46DF-A96E-C69958F2424E}" destId="{A7963AE9-639C-4FA0-93D9-D26E60C233DE}" srcOrd="0" destOrd="0" presId="urn:microsoft.com/office/officeart/2018/5/layout/IconCircleLabelList"/>
    <dgm:cxn modelId="{1D13DD4D-C10B-7B4D-951D-BCE955D400CA}" type="presParOf" srcId="{DA00B789-BCE8-46DF-A96E-C69958F2424E}" destId="{09D190D3-2527-49E0-9282-1F2434F72C90}" srcOrd="1" destOrd="0" presId="urn:microsoft.com/office/officeart/2018/5/layout/IconCircleLabelList"/>
    <dgm:cxn modelId="{C764A561-8723-B64E-A2FD-CE395704588F}" type="presParOf" srcId="{DA00B789-BCE8-46DF-A96E-C69958F2424E}" destId="{B0E34430-1356-49EC-987D-100E7853F940}" srcOrd="2" destOrd="0" presId="urn:microsoft.com/office/officeart/2018/5/layout/IconCircleLabelList"/>
    <dgm:cxn modelId="{8444BFCE-0DCC-F44A-8465-AEA3154139AA}" type="presParOf" srcId="{DA00B789-BCE8-46DF-A96E-C69958F2424E}" destId="{E1EAC4C4-5D33-4FEC-BDC2-9834FAB9A910}" srcOrd="3" destOrd="0" presId="urn:microsoft.com/office/officeart/2018/5/layout/IconCircleLabelList"/>
    <dgm:cxn modelId="{1BB582A0-7291-1342-97ED-75891081A14C}" type="presParOf" srcId="{69637A69-688B-45FB-A331-2A0E8DC2EC72}" destId="{FD03B150-3546-4AB5-9DAB-D19873B1DAA3}" srcOrd="5" destOrd="0" presId="urn:microsoft.com/office/officeart/2018/5/layout/IconCircleLabelList"/>
    <dgm:cxn modelId="{F8375981-4E25-5948-9E2E-74E9160AB879}" type="presParOf" srcId="{69637A69-688B-45FB-A331-2A0E8DC2EC72}" destId="{3565E65C-226D-4650-A1DD-38C17E811C25}" srcOrd="6" destOrd="0" presId="urn:microsoft.com/office/officeart/2018/5/layout/IconCircleLabelList"/>
    <dgm:cxn modelId="{3D3E1317-236A-C949-88FB-EE5A5FFB517B}" type="presParOf" srcId="{3565E65C-226D-4650-A1DD-38C17E811C25}" destId="{1D59AC2D-677D-44A5-BE02-1A3A5343B7E0}" srcOrd="0" destOrd="0" presId="urn:microsoft.com/office/officeart/2018/5/layout/IconCircleLabelList"/>
    <dgm:cxn modelId="{A448E365-528F-D545-92A5-78D38AD255A6}" type="presParOf" srcId="{3565E65C-226D-4650-A1DD-38C17E811C25}" destId="{5A010B34-8036-400C-9E18-0A4A7482D200}" srcOrd="1" destOrd="0" presId="urn:microsoft.com/office/officeart/2018/5/layout/IconCircleLabelList"/>
    <dgm:cxn modelId="{28C74EFD-DDC3-C64B-9121-23B5784DA7CE}" type="presParOf" srcId="{3565E65C-226D-4650-A1DD-38C17E811C25}" destId="{96A62217-1273-409F-A3B0-D578D2EEEB5C}" srcOrd="2" destOrd="0" presId="urn:microsoft.com/office/officeart/2018/5/layout/IconCircleLabelList"/>
    <dgm:cxn modelId="{D7E01ACA-2D76-0440-8BFB-474D3C83CDB6}" type="presParOf" srcId="{3565E65C-226D-4650-A1DD-38C17E811C25}" destId="{852CA35F-7D61-4FAC-BE05-54571B80DD6A}" srcOrd="3" destOrd="0" presId="urn:microsoft.com/office/officeart/2018/5/layout/IconCircle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881EE0-C563-304E-90B6-212734453466}">
      <dsp:nvSpPr>
        <dsp:cNvPr id="0" name=""/>
        <dsp:cNvSpPr/>
      </dsp:nvSpPr>
      <dsp:spPr>
        <a:xfrm>
          <a:off x="202" y="136361"/>
          <a:ext cx="2447649" cy="293717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773" tIns="0" rIns="241773" bIns="33020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 dirty="0"/>
            <a:t>Problem Statement : </a:t>
          </a:r>
          <a:r>
            <a:rPr lang="en-IN" sz="1400" kern="1200" dirty="0"/>
            <a:t>Train delays are a global problem that affect commuters, companies, and transportation networks all around the world.</a:t>
          </a:r>
          <a:endParaRPr lang="en-US" sz="1400" kern="1200" dirty="0"/>
        </a:p>
      </dsp:txBody>
      <dsp:txXfrm>
        <a:off x="202" y="1311233"/>
        <a:ext cx="2447649" cy="1762307"/>
      </dsp:txXfrm>
    </dsp:sp>
    <dsp:sp modelId="{9690A6AF-5F66-244C-BA2B-4F54206B307E}">
      <dsp:nvSpPr>
        <dsp:cNvPr id="0" name=""/>
        <dsp:cNvSpPr/>
      </dsp:nvSpPr>
      <dsp:spPr>
        <a:xfrm>
          <a:off x="202" y="136361"/>
          <a:ext cx="2447649" cy="1174871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773" tIns="165100" rIns="241773" bIns="165100" numCol="1" spcCol="1270" anchor="ctr" anchorCtr="0">
          <a:noAutofit/>
        </a:bodyPr>
        <a:lstStyle/>
        <a:p>
          <a:pPr marL="0" lvl="0" indent="0" algn="l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/>
            <a:t>01</a:t>
          </a:r>
        </a:p>
      </dsp:txBody>
      <dsp:txXfrm>
        <a:off x="202" y="136361"/>
        <a:ext cx="2447649" cy="1174871"/>
      </dsp:txXfrm>
    </dsp:sp>
    <dsp:sp modelId="{BCBE1D48-8016-4641-A1F1-0D603898FFD4}">
      <dsp:nvSpPr>
        <dsp:cNvPr id="0" name=""/>
        <dsp:cNvSpPr/>
      </dsp:nvSpPr>
      <dsp:spPr>
        <a:xfrm>
          <a:off x="2643664" y="136361"/>
          <a:ext cx="2447649" cy="293717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773" tIns="0" rIns="241773" bIns="33020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 dirty="0"/>
            <a:t>Significance: </a:t>
          </a:r>
          <a:r>
            <a:rPr lang="en-IN" sz="1400" kern="1200" dirty="0"/>
            <a:t>Dependable train services are essential for economic productivity, environmental sustainability, and urban mobility.</a:t>
          </a:r>
          <a:endParaRPr lang="en-US" sz="1400" kern="1200" dirty="0"/>
        </a:p>
      </dsp:txBody>
      <dsp:txXfrm>
        <a:off x="2643664" y="1311233"/>
        <a:ext cx="2447649" cy="1762307"/>
      </dsp:txXfrm>
    </dsp:sp>
    <dsp:sp modelId="{0A8C497D-5DCE-BB42-8E06-2F744C6F6C34}">
      <dsp:nvSpPr>
        <dsp:cNvPr id="0" name=""/>
        <dsp:cNvSpPr/>
      </dsp:nvSpPr>
      <dsp:spPr>
        <a:xfrm>
          <a:off x="2643664" y="136361"/>
          <a:ext cx="2447649" cy="1174871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773" tIns="165100" rIns="241773" bIns="165100" numCol="1" spcCol="1270" anchor="ctr" anchorCtr="0">
          <a:noAutofit/>
        </a:bodyPr>
        <a:lstStyle/>
        <a:p>
          <a:pPr marL="0" lvl="0" indent="0" algn="l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/>
            <a:t>02</a:t>
          </a:r>
        </a:p>
      </dsp:txBody>
      <dsp:txXfrm>
        <a:off x="2643664" y="136361"/>
        <a:ext cx="2447649" cy="1174871"/>
      </dsp:txXfrm>
    </dsp:sp>
    <dsp:sp modelId="{AEC2E468-2706-9242-AC4F-C9020D2FF122}">
      <dsp:nvSpPr>
        <dsp:cNvPr id="0" name=""/>
        <dsp:cNvSpPr/>
      </dsp:nvSpPr>
      <dsp:spPr>
        <a:xfrm>
          <a:off x="5287125" y="136361"/>
          <a:ext cx="2447649" cy="293717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773" tIns="0" rIns="241773" bIns="33020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 dirty="0"/>
            <a:t>Goal: </a:t>
          </a:r>
          <a:r>
            <a:rPr lang="en-IN" sz="1400" kern="1200" dirty="0"/>
            <a:t>We want to create a machine learning model that can anticipate train delays with accuracy and lessen the effects they have on stakeholders.</a:t>
          </a:r>
          <a:endParaRPr lang="en-US" sz="1400" kern="1200" dirty="0"/>
        </a:p>
      </dsp:txBody>
      <dsp:txXfrm>
        <a:off x="5287125" y="1311233"/>
        <a:ext cx="2447649" cy="1762307"/>
      </dsp:txXfrm>
    </dsp:sp>
    <dsp:sp modelId="{B700AB89-FA7D-F04F-97B2-E24212CC8F86}">
      <dsp:nvSpPr>
        <dsp:cNvPr id="0" name=""/>
        <dsp:cNvSpPr/>
      </dsp:nvSpPr>
      <dsp:spPr>
        <a:xfrm>
          <a:off x="5287125" y="136361"/>
          <a:ext cx="2447649" cy="1174871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773" tIns="165100" rIns="241773" bIns="165100" numCol="1" spcCol="1270" anchor="ctr" anchorCtr="0">
          <a:noAutofit/>
        </a:bodyPr>
        <a:lstStyle/>
        <a:p>
          <a:pPr marL="0" lvl="0" indent="0" algn="l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/>
            <a:t>03</a:t>
          </a:r>
        </a:p>
      </dsp:txBody>
      <dsp:txXfrm>
        <a:off x="5287125" y="136361"/>
        <a:ext cx="2447649" cy="1174871"/>
      </dsp:txXfrm>
    </dsp:sp>
    <dsp:sp modelId="{7327DA99-5EFA-994C-AE7F-7642D9811F58}">
      <dsp:nvSpPr>
        <dsp:cNvPr id="0" name=""/>
        <dsp:cNvSpPr/>
      </dsp:nvSpPr>
      <dsp:spPr>
        <a:xfrm>
          <a:off x="7930587" y="136361"/>
          <a:ext cx="2447649" cy="2937179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773" tIns="0" rIns="241773" bIns="33020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Objectives: </a:t>
          </a:r>
          <a:r>
            <a:rPr lang="en-US" sz="1400" kern="1200" dirty="0"/>
            <a:t>In this presentation, we will delve into the methodologies, results, and implications of our ML project on predicting train delays.</a:t>
          </a:r>
        </a:p>
      </dsp:txBody>
      <dsp:txXfrm>
        <a:off x="7930587" y="1311233"/>
        <a:ext cx="2447649" cy="1762307"/>
      </dsp:txXfrm>
    </dsp:sp>
    <dsp:sp modelId="{DA8043CE-76EB-2B4D-AF3D-D05D62729F88}">
      <dsp:nvSpPr>
        <dsp:cNvPr id="0" name=""/>
        <dsp:cNvSpPr/>
      </dsp:nvSpPr>
      <dsp:spPr>
        <a:xfrm>
          <a:off x="7930587" y="136361"/>
          <a:ext cx="2447649" cy="1174871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773" tIns="165100" rIns="241773" bIns="165100" numCol="1" spcCol="1270" anchor="ctr" anchorCtr="0">
          <a:noAutofit/>
        </a:bodyPr>
        <a:lstStyle/>
        <a:p>
          <a:pPr marL="0" lvl="0" indent="0" algn="l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0" kern="1200"/>
            <a:t>04</a:t>
          </a:r>
        </a:p>
      </dsp:txBody>
      <dsp:txXfrm>
        <a:off x="7930587" y="136361"/>
        <a:ext cx="2447649" cy="117487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644187-D922-4968-9888-BA97249AB9E3}">
      <dsp:nvSpPr>
        <dsp:cNvPr id="0" name=""/>
        <dsp:cNvSpPr/>
      </dsp:nvSpPr>
      <dsp:spPr>
        <a:xfrm>
          <a:off x="164279" y="487604"/>
          <a:ext cx="1311111" cy="1311111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231FC8-C988-4D54-8877-3E4A021843A1}">
      <dsp:nvSpPr>
        <dsp:cNvPr id="0" name=""/>
        <dsp:cNvSpPr/>
      </dsp:nvSpPr>
      <dsp:spPr>
        <a:xfrm>
          <a:off x="439612" y="762937"/>
          <a:ext cx="760444" cy="76044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A7D65D-8B0A-4A77-9441-012488AD3DD7}">
      <dsp:nvSpPr>
        <dsp:cNvPr id="0" name=""/>
        <dsp:cNvSpPr/>
      </dsp:nvSpPr>
      <dsp:spPr>
        <a:xfrm>
          <a:off x="1756343" y="487604"/>
          <a:ext cx="3090478" cy="13111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Binary Classification Objective: </a:t>
          </a:r>
          <a:r>
            <a:rPr lang="en-IN" sz="1400" b="0" i="0" kern="1200" dirty="0"/>
            <a:t>Develop a model that predicts whether a train will be delayed(1) or not delayed(0).</a:t>
          </a:r>
          <a:endParaRPr lang="en-US" sz="1400" kern="1200" dirty="0"/>
        </a:p>
      </dsp:txBody>
      <dsp:txXfrm>
        <a:off x="1756343" y="487604"/>
        <a:ext cx="3090478" cy="1311111"/>
      </dsp:txXfrm>
    </dsp:sp>
    <dsp:sp modelId="{DFF183D4-1D4B-48AF-96BE-952372D6A5BF}">
      <dsp:nvSpPr>
        <dsp:cNvPr id="0" name=""/>
        <dsp:cNvSpPr/>
      </dsp:nvSpPr>
      <dsp:spPr>
        <a:xfrm>
          <a:off x="5385314" y="487604"/>
          <a:ext cx="1311111" cy="1311111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3D3130-8063-450F-B496-E722D7E8D742}">
      <dsp:nvSpPr>
        <dsp:cNvPr id="0" name=""/>
        <dsp:cNvSpPr/>
      </dsp:nvSpPr>
      <dsp:spPr>
        <a:xfrm>
          <a:off x="5660647" y="762937"/>
          <a:ext cx="760444" cy="76044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DCBA13-66F3-4E37-BC62-071B74297878}">
      <dsp:nvSpPr>
        <dsp:cNvPr id="0" name=""/>
        <dsp:cNvSpPr/>
      </dsp:nvSpPr>
      <dsp:spPr>
        <a:xfrm>
          <a:off x="6977378" y="487604"/>
          <a:ext cx="3090478" cy="13111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/>
            <a:t>Data: Leverage historical data of train departures for 2 days from the public API - </a:t>
          </a:r>
          <a:r>
            <a:rPr lang="en-IN" sz="1400" kern="1200">
              <a:hlinkClick xmlns:r="http://schemas.openxmlformats.org/officeDocument/2006/relationships" r:id="rId5"/>
            </a:rPr>
            <a:t>https://api.trafikinfo.trafikverket.se/</a:t>
          </a:r>
          <a:endParaRPr lang="en-US" sz="1400" kern="1200"/>
        </a:p>
      </dsp:txBody>
      <dsp:txXfrm>
        <a:off x="6977378" y="487604"/>
        <a:ext cx="3090478" cy="1311111"/>
      </dsp:txXfrm>
    </dsp:sp>
    <dsp:sp modelId="{9A01099F-166C-4726-8FAE-45F057C139AE}">
      <dsp:nvSpPr>
        <dsp:cNvPr id="0" name=""/>
        <dsp:cNvSpPr/>
      </dsp:nvSpPr>
      <dsp:spPr>
        <a:xfrm>
          <a:off x="164279" y="2535539"/>
          <a:ext cx="1311111" cy="1311111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6530A6-11CD-4FA2-BD79-42B8041373DC}">
      <dsp:nvSpPr>
        <dsp:cNvPr id="0" name=""/>
        <dsp:cNvSpPr/>
      </dsp:nvSpPr>
      <dsp:spPr>
        <a:xfrm>
          <a:off x="439612" y="2810873"/>
          <a:ext cx="760444" cy="760444"/>
        </a:xfrm>
        <a:prstGeom prst="rect">
          <a:avLst/>
        </a:prstGeom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53DB78-E905-45AE-9A4C-C1346F0C3A15}">
      <dsp:nvSpPr>
        <dsp:cNvPr id="0" name=""/>
        <dsp:cNvSpPr/>
      </dsp:nvSpPr>
      <dsp:spPr>
        <a:xfrm>
          <a:off x="1756343" y="2535539"/>
          <a:ext cx="3090478" cy="13111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/>
            <a:t>Impact: Timely communication and improved passenger experience.</a:t>
          </a:r>
          <a:endParaRPr lang="en-US" sz="1400" kern="1200"/>
        </a:p>
      </dsp:txBody>
      <dsp:txXfrm>
        <a:off x="1756343" y="2535539"/>
        <a:ext cx="3090478" cy="1311111"/>
      </dsp:txXfrm>
    </dsp:sp>
    <dsp:sp modelId="{8AA142F0-F338-45BD-A09A-E341C2393BFB}">
      <dsp:nvSpPr>
        <dsp:cNvPr id="0" name=""/>
        <dsp:cNvSpPr/>
      </dsp:nvSpPr>
      <dsp:spPr>
        <a:xfrm>
          <a:off x="5385314" y="2535539"/>
          <a:ext cx="1311111" cy="131111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C2CA42-D1FD-4D26-A8A3-12ABAABC9FBF}">
      <dsp:nvSpPr>
        <dsp:cNvPr id="0" name=""/>
        <dsp:cNvSpPr/>
      </dsp:nvSpPr>
      <dsp:spPr>
        <a:xfrm>
          <a:off x="5660647" y="2810873"/>
          <a:ext cx="760444" cy="760444"/>
        </a:xfrm>
        <a:prstGeom prst="rect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5827DA-D1C3-4870-846B-AA8F0D2B2870}">
      <dsp:nvSpPr>
        <dsp:cNvPr id="0" name=""/>
        <dsp:cNvSpPr/>
      </dsp:nvSpPr>
      <dsp:spPr>
        <a:xfrm>
          <a:off x="6977378" y="2535539"/>
          <a:ext cx="3090478" cy="13111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/>
            <a:t>Innovation: </a:t>
          </a:r>
          <a:r>
            <a:rPr lang="en-IN" sz="1400" b="0" i="0" kern="1200"/>
            <a:t>Contribute to the advancement of transport technology by leveraging machine learning and real-time data analytics to address real-world challenges in train scheduling and operations.</a:t>
          </a:r>
          <a:endParaRPr lang="en-US" sz="1400" kern="1200"/>
        </a:p>
      </dsp:txBody>
      <dsp:txXfrm>
        <a:off x="6977378" y="2535539"/>
        <a:ext cx="3090478" cy="131111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C9F100-F73C-4E0E-94BB-1B4586AB07B6}">
      <dsp:nvSpPr>
        <dsp:cNvPr id="0" name=""/>
        <dsp:cNvSpPr/>
      </dsp:nvSpPr>
      <dsp:spPr>
        <a:xfrm>
          <a:off x="973190" y="986724"/>
          <a:ext cx="1264141" cy="1264141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1D1613-964F-4DDC-87AE-998B7A48CAD0}">
      <dsp:nvSpPr>
        <dsp:cNvPr id="0" name=""/>
        <dsp:cNvSpPr/>
      </dsp:nvSpPr>
      <dsp:spPr>
        <a:xfrm>
          <a:off x="1242597" y="1256131"/>
          <a:ext cx="725326" cy="72532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599F81-82C9-4CBA-931C-4C7957648E21}">
      <dsp:nvSpPr>
        <dsp:cNvPr id="0" name=""/>
        <dsp:cNvSpPr/>
      </dsp:nvSpPr>
      <dsp:spPr>
        <a:xfrm>
          <a:off x="569079" y="2644614"/>
          <a:ext cx="207236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DE" sz="2200" kern="1200"/>
            <a:t>Unit Testing</a:t>
          </a:r>
          <a:endParaRPr lang="en-US" sz="2200" kern="1200"/>
        </a:p>
      </dsp:txBody>
      <dsp:txXfrm>
        <a:off x="569079" y="2644614"/>
        <a:ext cx="2072362" cy="720000"/>
      </dsp:txXfrm>
    </dsp:sp>
    <dsp:sp modelId="{30862569-E37D-4AD7-8F4B-0E8C95E7C272}">
      <dsp:nvSpPr>
        <dsp:cNvPr id="0" name=""/>
        <dsp:cNvSpPr/>
      </dsp:nvSpPr>
      <dsp:spPr>
        <a:xfrm>
          <a:off x="3408216" y="986724"/>
          <a:ext cx="1264141" cy="1264141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2E4CFE9-33CB-4E33-A34A-06CA65E4A40D}">
      <dsp:nvSpPr>
        <dsp:cNvPr id="0" name=""/>
        <dsp:cNvSpPr/>
      </dsp:nvSpPr>
      <dsp:spPr>
        <a:xfrm>
          <a:off x="3677623" y="1256131"/>
          <a:ext cx="725326" cy="72532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75FC0A-FC95-440F-B8F8-A3C896AFDEED}">
      <dsp:nvSpPr>
        <dsp:cNvPr id="0" name=""/>
        <dsp:cNvSpPr/>
      </dsp:nvSpPr>
      <dsp:spPr>
        <a:xfrm>
          <a:off x="3004105" y="2644614"/>
          <a:ext cx="207236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DE" sz="2200" kern="1200"/>
            <a:t>REST API Testing with Postman</a:t>
          </a:r>
          <a:endParaRPr lang="en-US" sz="2200" kern="1200"/>
        </a:p>
      </dsp:txBody>
      <dsp:txXfrm>
        <a:off x="3004105" y="2644614"/>
        <a:ext cx="2072362" cy="720000"/>
      </dsp:txXfrm>
    </dsp:sp>
    <dsp:sp modelId="{A7963AE9-639C-4FA0-93D9-D26E60C233DE}">
      <dsp:nvSpPr>
        <dsp:cNvPr id="0" name=""/>
        <dsp:cNvSpPr/>
      </dsp:nvSpPr>
      <dsp:spPr>
        <a:xfrm>
          <a:off x="5843242" y="986724"/>
          <a:ext cx="1264141" cy="1264141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D190D3-2527-49E0-9282-1F2434F72C90}">
      <dsp:nvSpPr>
        <dsp:cNvPr id="0" name=""/>
        <dsp:cNvSpPr/>
      </dsp:nvSpPr>
      <dsp:spPr>
        <a:xfrm>
          <a:off x="6112649" y="1256131"/>
          <a:ext cx="725326" cy="72532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EAC4C4-5D33-4FEC-BDC2-9834FAB9A910}">
      <dsp:nvSpPr>
        <dsp:cNvPr id="0" name=""/>
        <dsp:cNvSpPr/>
      </dsp:nvSpPr>
      <dsp:spPr>
        <a:xfrm>
          <a:off x="5439131" y="2644614"/>
          <a:ext cx="207236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DE" sz="2200" kern="1200"/>
            <a:t>Functionality Testing</a:t>
          </a:r>
          <a:endParaRPr lang="en-US" sz="2200" kern="1200"/>
        </a:p>
      </dsp:txBody>
      <dsp:txXfrm>
        <a:off x="5439131" y="2644614"/>
        <a:ext cx="2072362" cy="720000"/>
      </dsp:txXfrm>
    </dsp:sp>
    <dsp:sp modelId="{1D59AC2D-677D-44A5-BE02-1A3A5343B7E0}">
      <dsp:nvSpPr>
        <dsp:cNvPr id="0" name=""/>
        <dsp:cNvSpPr/>
      </dsp:nvSpPr>
      <dsp:spPr>
        <a:xfrm>
          <a:off x="8278268" y="986724"/>
          <a:ext cx="1264141" cy="126414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010B34-8036-400C-9E18-0A4A7482D200}">
      <dsp:nvSpPr>
        <dsp:cNvPr id="0" name=""/>
        <dsp:cNvSpPr/>
      </dsp:nvSpPr>
      <dsp:spPr>
        <a:xfrm>
          <a:off x="8547675" y="1256131"/>
          <a:ext cx="725326" cy="72532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2CA35F-7D61-4FAC-BE05-54571B80DD6A}">
      <dsp:nvSpPr>
        <dsp:cNvPr id="0" name=""/>
        <dsp:cNvSpPr/>
      </dsp:nvSpPr>
      <dsp:spPr>
        <a:xfrm>
          <a:off x="7874157" y="2644614"/>
          <a:ext cx="207236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DE" sz="2200" kern="1200"/>
            <a:t>Integration testing</a:t>
          </a:r>
          <a:endParaRPr lang="en-US" sz="2200" kern="1200"/>
        </a:p>
      </dsp:txBody>
      <dsp:txXfrm>
        <a:off x="7874157" y="2644614"/>
        <a:ext cx="2072362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LinearBlockProcessNumbered">
  <dgm:title val="Linear Block Process Numbered"/>
  <dgm:desc val="Used to show a progression; a timeline; sequential steps in a task, process, or workflow; or to emphasize movement or direction. Automatic numbers have been introduced to show the steps of the process. Level 1 text and Level 2 text both appears in a rectangle."/>
  <dgm:catLst>
    <dgm:cat type="process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101" type="sibTrans" cxnId="4">
          <dgm:prSet phldrT="1"/>
          <dgm:t>
            <a:bodyPr/>
            <a:lstStyle/>
            <a:p>
              <a:r>
                <a:t>01</a:t>
              </a:r>
            </a:p>
          </dgm:t>
        </dgm:pt>
        <dgm:pt modelId="201" type="sibTrans" cxnId="5">
          <dgm:prSet phldrT="2"/>
          <dgm:t>
            <a:bodyPr/>
            <a:lstStyle/>
            <a:p>
              <a:r>
                <a:t>02</a:t>
              </a:r>
            </a:p>
          </dgm:t>
        </dgm:pt>
        <dgm:pt modelId="301" type="sibTrans" cxnId="6">
          <dgm:prSet phldrT="3"/>
          <dgm:t>
            <a:bodyPr/>
            <a:lstStyle/>
            <a:p>
              <a:r>
                <a:t>03</a:t>
              </a:r>
            </a:p>
          </dgm:t>
        </dgm:pt>
      </dgm:ptLst>
      <dgm:cxnLst>
        <dgm:cxn modelId="4" srcId="0" destId="1" srcOrd="0" destOrd="0" sibTransId="101"/>
        <dgm:cxn modelId="5" srcId="0" destId="2" srcOrd="1" destOrd="0" sibTransId="201"/>
        <dgm:cxn modelId="6" srcId="0" destId="3" srcOrd="2" destOrd="0" sibTransId="301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animLvl val="lvl"/>
      <dgm:resizeHandles val="exact"/>
    </dgm:varLst>
    <dgm:alg type="lin">
      <dgm:param type="linDir" val="fromL"/>
      <dgm:param type="nodeVertAlign" val="t"/>
    </dgm:alg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0.08"/>
      <dgm:constr type="primFontSz" for="des" forName="sibTransNodeRect" op="equ"/>
      <dgm:constr type="primFontSz" for="des" forName="nodeRect" op="equ"/>
    </dgm:constrLst>
    <dgm:ruleLst/>
    <dgm:forEach name="Name4" axis="ch" ptType="node">
      <dgm:layoutNode name="compositeNode">
        <dgm:varLst>
          <dgm:bulletEnabled val="1"/>
        </dgm:varLst>
        <dgm:alg type="composite"/>
        <dgm:constrLst>
          <dgm:constr type="h" refType="w" op="lte" fact="1.2"/>
          <dgm:constr type="w" for="ch" forName="bgRect" refType="w"/>
          <dgm:constr type="h" for="ch" forName="bgRect" refType="h"/>
          <dgm:constr type="t" for="ch" forName="bgRect"/>
          <dgm:constr type="l" for="ch" forName="bgRect"/>
          <dgm:constr type="w" for="ch" forName="sibTransNodeRect" refType="w" refFor="ch" refForName="bgRect"/>
          <dgm:constr type="h" for="ch" forName="sibTransNodeRect" refType="h" refFor="ch" refForName="bgRect" fact="0.4"/>
          <dgm:constr type="t" for="ch" forName="sibTransNodeRect"/>
          <dgm:constr type="l" for="ch" forName="sibTransNodeRect"/>
          <dgm:constr type="r" for="ch" forName="nodeRect" refType="r" refFor="ch" refForName="bgRect"/>
          <dgm:constr type="h" for="ch" forName="nodeRect" refType="h" refFor="ch" refForName="bgRect" fact="0.6"/>
          <dgm:constr type="t" for="ch" forName="nodeRect" refType="b" refFor="ch" refForName="sibTransNodeRect"/>
          <dgm:constr type="l" for="ch" forName="nodeRect" refType="l" refFor="ch" refForName="bgRect"/>
        </dgm:constrLst>
        <dgm:ruleLst>
          <dgm:rule type="w" for="ch" forName="nodeRect" val="NaN" fact="NaN" max="30"/>
        </dgm:ruleLst>
        <dgm:layoutNode name="bgRect" styleLbl="alignNode1">
          <dgm:alg type="sp"/>
          <dgm:shape xmlns:r="http://schemas.openxmlformats.org/officeDocument/2006/relationships" type="rect" r:blip="">
            <dgm:adjLst>
              <dgm:adj idx="1" val="0.05"/>
            </dgm:adjLst>
          </dgm:shape>
          <dgm:presOf axis="self"/>
          <dgm:constrLst/>
          <dgm:ruleLst/>
        </dgm:layoutNode>
        <dgm:forEach name="Name19" axis="followSib" ptType="sibTrans" hideLastTrans="0" cnt="1">
          <dgm:layoutNode name="sibTransNodeRect" styleLbl="alignNode1">
            <dgm:varLst>
              <dgm:chMax val="0"/>
              <dgm:bulletEnabled val="1"/>
            </dgm:varLst>
            <dgm:presOf axis="self"/>
            <dgm:alg type="tx">
              <dgm:param type="parTxLTRAlign" val="l"/>
              <dgm:param type="parTxRTLAlign" val="l"/>
            </dgm:alg>
            <dgm:shape xmlns:r="http://schemas.openxmlformats.org/officeDocument/2006/relationships" type="rect" r:blip="" hideGeom="1">
              <dgm:adjLst/>
            </dgm:shape>
            <dgm:constrLst>
              <dgm:constr type="primFontSz" val="66"/>
              <dgm:constr type="tMarg" val="13"/>
              <dgm:constr type="lMarg" refType="w" fact="0.28"/>
              <dgm:constr type="rMarg" refType="w" fact="0.28"/>
              <dgm:constr type="bMarg" val="13"/>
            </dgm:constrLst>
            <dgm:ruleLst>
              <dgm:rule type="primFontSz" val="14" fact="NaN" max="NaN"/>
              <dgm:rule type="tMarg" val="13" fact="NaN" max="NaN"/>
            </dgm:ruleLst>
          </dgm:layoutNode>
        </dgm:forEach>
        <dgm:layoutNode name="nodeRect" styleLbl="alignNode1" moveWith="bgRect">
          <dgm:varLst>
            <dgm:bulletEnabled val="1"/>
          </dgm:varLst>
          <dgm:alg type="tx">
            <dgm:param type="parTxLTRAlign" val="l"/>
            <dgm:param type="parTxRTLAlign" val="r"/>
            <dgm:param type="txAnchorVert" val="t"/>
            <dgm:param type="stBulletLvl" val="2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26"/>
            <dgm:constr type="tMarg"/>
            <dgm:constr type="lMarg" refType="w" fact="0.28"/>
            <dgm:constr type="rMarg" refType="w" fact="0.28"/>
            <dgm:constr type="bMarg" val="26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  <dgm:extLst>
    <a:ext uri="{4F341089-5ED1-44EC-B178-C955D00A3D55}">
      <dgm1611:autoBuNodeInfoLst xmlns:dgm1611="http://schemas.microsoft.com/office/drawing/2016/11/diagram">
        <dgm1611:autoBuNodeInfo lvl="1" ptType="sibTrans">
          <dgm1611:buPr prefix="" leadZeros="1">
            <a:buAutoNum type="arabicParenBoth"/>
          </dgm1611:buPr>
        </dgm1611:autoBuNodeInfo>
      </dgm1611:autoBuNodeInfoLst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5/layout/IconCircleLabelList">
  <dgm:title val="Icon Circle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6D58AC-F0ED-8D4E-A1FB-4B6CBDAB4F21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5993ED-6964-0141-AD02-C33670BEA1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5161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993ED-6964-0141-AD02-C33670BEA19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8116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en-US" dirty="0">
                <a:effectLst/>
                <a:latin typeface="Arial" panose="020B0604020202020204" pitchFamily="34" charset="0"/>
              </a:rPr>
              <a:t>1) Data Requirements - input data specification:</a:t>
            </a:r>
            <a:br>
              <a:rPr lang="en-US" dirty="0">
                <a:effectLst/>
              </a:rPr>
            </a:br>
            <a:r>
              <a:rPr lang="en-US" dirty="0">
                <a:effectLst/>
                <a:latin typeface="Courier New" panose="02070309020205020404" pitchFamily="49" charset="0"/>
              </a:rPr>
              <a:t>id11 </a:t>
            </a:r>
            <a:r>
              <a:rPr lang="en-US" dirty="0">
                <a:effectLst/>
                <a:latin typeface="Arial" panose="020B0604020202020204" pitchFamily="34" charset="0"/>
              </a:rPr>
              <a:t>Use publicly available historical rail data from the</a:t>
            </a:r>
            <a:br>
              <a:rPr lang="en-US" dirty="0">
                <a:effectLst/>
              </a:rPr>
            </a:br>
            <a:r>
              <a:rPr lang="en-US" dirty="0">
                <a:effectLst/>
                <a:latin typeface="Arial" panose="020B0604020202020204" pitchFamily="34" charset="0"/>
              </a:rPr>
              <a:t>Swedish Transport Administration.</a:t>
            </a:r>
            <a:endParaRPr lang="en-US" dirty="0">
              <a:effectLst/>
            </a:endParaRPr>
          </a:p>
          <a:p>
            <a:r>
              <a:rPr lang="en-US" b="0" i="0" dirty="0">
                <a:effectLst/>
                <a:latin typeface="Courier New" panose="02070309020205020404" pitchFamily="49" charset="0"/>
              </a:rPr>
              <a:t>id21 </a:t>
            </a:r>
            <a:r>
              <a:rPr lang="en-US" b="0" i="0" dirty="0">
                <a:effectLst/>
                <a:latin typeface="Arial" panose="020B0604020202020204" pitchFamily="34" charset="0"/>
              </a:rPr>
              <a:t>Historical timetable data, departure times and arrival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Arial" panose="020B0604020202020204" pitchFamily="34" charset="0"/>
              </a:rPr>
              <a:t>times.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Courier New" panose="02070309020205020404" pitchFamily="49" charset="0"/>
              </a:rPr>
              <a:t>id23 </a:t>
            </a:r>
            <a:r>
              <a:rPr lang="en-US" b="0" i="0" dirty="0">
                <a:effectLst/>
                <a:latin typeface="Arial" panose="020B0604020202020204" pitchFamily="34" charset="0"/>
              </a:rPr>
              <a:t>Use data for SJ’s long-distance trains.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Courier New" panose="02070309020205020404" pitchFamily="49" charset="0"/>
              </a:rPr>
              <a:t>id24 </a:t>
            </a:r>
            <a:r>
              <a:rPr lang="en-US" b="0" i="0" dirty="0">
                <a:effectLst/>
                <a:latin typeface="Arial" panose="020B0604020202020204" pitchFamily="34" charset="0"/>
              </a:rPr>
              <a:t>The front-end application shall prompt the user to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Arial" panose="020B0604020202020204" pitchFamily="34" charset="0"/>
              </a:rPr>
              <a:t>choose from a list a departing station and an arrival station.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Arial" panose="020B0604020202020204" pitchFamily="34" charset="0"/>
              </a:rPr>
              <a:t>2) Functional Requirements: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Courier New" panose="02070309020205020404" pitchFamily="49" charset="0"/>
              </a:rPr>
              <a:t>id31 </a:t>
            </a:r>
            <a:r>
              <a:rPr lang="en-US" b="0" i="0" dirty="0">
                <a:effectLst/>
                <a:latin typeface="Arial" panose="020B0604020202020204" pitchFamily="34" charset="0"/>
              </a:rPr>
              <a:t>The system shall predict if a train between two specific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Arial" panose="020B0604020202020204" pitchFamily="34" charset="0"/>
              </a:rPr>
              <a:t>stations will arrive on time. </a:t>
            </a:r>
            <a:r>
              <a:rPr lang="en-US" b="0" i="0" dirty="0" err="1">
                <a:effectLst/>
                <a:latin typeface="Arial" panose="020B0604020202020204" pitchFamily="34" charset="0"/>
              </a:rPr>
              <a:t>Trafikverket’s</a:t>
            </a:r>
            <a:r>
              <a:rPr lang="en-US" b="0" i="0" dirty="0">
                <a:effectLst/>
                <a:latin typeface="Arial" panose="020B0604020202020204" pitchFamily="34" charset="0"/>
              </a:rPr>
              <a:t> definition is that a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Arial" panose="020B0604020202020204" pitchFamily="34" charset="0"/>
              </a:rPr>
              <a:t>deviation of more than 5:59 min after planned time is a delay.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Arial" panose="020B0604020202020204" pitchFamily="34" charset="0"/>
              </a:rPr>
              <a:t>3) Performance Requirements: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Courier New" panose="02070309020205020404" pitchFamily="49" charset="0"/>
              </a:rPr>
              <a:t>id41 </a:t>
            </a:r>
            <a:r>
              <a:rPr lang="en-US" b="0" i="0" dirty="0">
                <a:effectLst/>
                <a:latin typeface="Arial" panose="020B0604020202020204" pitchFamily="34" charset="0"/>
              </a:rPr>
              <a:t>The model shall achieve a minimum accuracy of [was not decided in the beginning of the project]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Arial" panose="020B0604020202020204" pitchFamily="34" charset="0"/>
              </a:rPr>
              <a:t>4) System Requirements - Scalability: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Courier New" panose="02070309020205020404" pitchFamily="49" charset="0"/>
              </a:rPr>
              <a:t>id55 </a:t>
            </a:r>
            <a:r>
              <a:rPr lang="en-US" b="0" i="0" dirty="0">
                <a:effectLst/>
                <a:latin typeface="Arial" panose="020B0604020202020204" pitchFamily="34" charset="0"/>
              </a:rPr>
              <a:t>The system shall be designed to scale with an increase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Arial" panose="020B0604020202020204" pitchFamily="34" charset="0"/>
              </a:rPr>
              <a:t>in data volume (increasing the time period analyzed) and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Arial" panose="020B0604020202020204" pitchFamily="34" charset="0"/>
              </a:rPr>
              <a:t>complexity (other departures, destinations and operators)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Arial" panose="020B0604020202020204" pitchFamily="34" charset="0"/>
              </a:rPr>
              <a:t>5) Compliance and standards: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Courier New" panose="02070309020205020404" pitchFamily="49" charset="0"/>
              </a:rPr>
              <a:t>id61 </a:t>
            </a:r>
            <a:r>
              <a:rPr lang="en-US" b="0" i="0" dirty="0">
                <a:effectLst/>
                <a:latin typeface="Arial" panose="020B0604020202020204" pitchFamily="34" charset="0"/>
              </a:rPr>
              <a:t>Data privacy - The system shall use only publicly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Arial" panose="020B0604020202020204" pitchFamily="34" charset="0"/>
              </a:rPr>
              <a:t>available data from Trafikverket, so avoid issues with data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Arial" panose="020B0604020202020204" pitchFamily="34" charset="0"/>
              </a:rPr>
              <a:t>protection regulations.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Courier New" panose="02070309020205020404" pitchFamily="49" charset="0"/>
              </a:rPr>
              <a:t>id65 </a:t>
            </a:r>
            <a:r>
              <a:rPr lang="en-US" b="0" i="0" dirty="0">
                <a:effectLst/>
                <a:latin typeface="Arial" panose="020B0604020202020204" pitchFamily="34" charset="0"/>
              </a:rPr>
              <a:t>Reporting - The system shall generate a response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Arial" panose="020B0604020202020204" pitchFamily="34" charset="0"/>
              </a:rPr>
              <a:t>informing the user if the model predicts that a train between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Arial" panose="020B0604020202020204" pitchFamily="34" charset="0"/>
              </a:rPr>
              <a:t>the named locations will arrive to the end location 1) on time</a:t>
            </a:r>
            <a:br>
              <a:rPr lang="en-US" dirty="0">
                <a:effectLst/>
              </a:rPr>
            </a:br>
            <a:r>
              <a:rPr lang="en-US" b="0" i="0" dirty="0">
                <a:effectLst/>
                <a:latin typeface="Arial" panose="020B0604020202020204" pitchFamily="34" charset="0"/>
              </a:rPr>
              <a:t>2) delayed.</a:t>
            </a:r>
            <a:br>
              <a:rPr lang="en-US" dirty="0">
                <a:effectLst/>
              </a:rPr>
            </a:b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993ED-6964-0141-AD02-C33670BEA19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68811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993ED-6964-0141-AD02-C33670BEA19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438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993ED-6964-0141-AD02-C33670BEA19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2167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993ED-6964-0141-AD02-C33670BEA19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2847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993ED-6964-0141-AD02-C33670BEA19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60437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en-US" dirty="0"/>
              <a:t>Future work can include increase the training data to a larger time span, for example one year, so that for a search on a Wednesday train departure train the model on one earlier non-holiday Wednesday departures. Another future development of the model is to predict how large the delay will be in spans of 5 minutes.</a:t>
            </a:r>
          </a:p>
          <a:p>
            <a:pPr algn="l" rtl="0"/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b="1" dirty="0">
                <a:latin typeface="Aptos" panose="020B0004020202020204" pitchFamily="34" charset="0"/>
                <a:cs typeface="Times New Roman" panose="02020603050405020304" pitchFamily="18" charset="0"/>
              </a:rPr>
              <a:t>Data Quality and Availability: </a:t>
            </a:r>
            <a:r>
              <a:rPr lang="en-IN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</a:rPr>
              <a:t>Reliable and comprehensive historical data and Continuous integration of real-time data for ongoing predictions can be complex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b="1" dirty="0">
                <a:latin typeface="Aptos" panose="020B0004020202020204" pitchFamily="34" charset="0"/>
                <a:cs typeface="Times New Roman" panose="02020603050405020304" pitchFamily="18" charset="0"/>
              </a:rPr>
              <a:t>Model Accuracy and Reliability: </a:t>
            </a:r>
            <a:r>
              <a:rPr lang="en-I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model needs to be trained on a diverse set of data and there could be False positive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b="1" dirty="0">
                <a:latin typeface="Aptos" panose="020B0004020202020204" pitchFamily="34" charset="0"/>
                <a:cs typeface="Times New Roman" panose="02020603050405020304" pitchFamily="18" charset="0"/>
              </a:rPr>
              <a:t>Scalability: </a:t>
            </a:r>
            <a:r>
              <a:rPr lang="en-I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Ensuring that the infrastructure can handle the computational load for real-time prediction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curity: </a:t>
            </a:r>
            <a:r>
              <a:rPr lang="en-I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Protecting the prediction system from cyber-attacks that could disrupt operations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993ED-6964-0141-AD02-C33670BEA19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960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9691F2-DCDF-B78E-A69C-56C2864F1A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E1B79A-9CB5-F609-82DD-EF886F85C7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2BE8F9-D075-7871-91D8-1CE20E69B9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68BEB-7B4F-3B4C-9C80-C5E0D90F89D2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CA236-39BE-1EF1-B4B7-07FFB94D44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A8F9FE-5C14-AE6A-35BC-B67860C3F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ABE62-9030-B648-AC4B-6D3127059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950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780A8B-EDE5-2FC0-A642-8A633930E6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701CE7F-B081-8018-739B-FE533DB181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8F82C8-8765-02F5-56F1-B6BBAA6F32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68BEB-7B4F-3B4C-9C80-C5E0D90F89D2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421B84-7612-CC0A-0CAE-179DF3F17D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C5AE24-A5BD-E222-C6DC-D824AD0B71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ABE62-9030-B648-AC4B-6D3127059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5443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2AF5528-45FE-B186-10BB-E8D6DFE1B2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85A25F-60BC-B8F3-C9D7-C915C7656D9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5092C1-E445-8435-0B8A-D28B4B9B8B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68BEB-7B4F-3B4C-9C80-C5E0D90F89D2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0861F8-983A-E453-FC26-4F854743F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33BB57-9F08-D792-6913-5EDADCB981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ABE62-9030-B648-AC4B-6D3127059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0943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E125F7-DB93-A569-A3DF-EF6404A6F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C92151-4313-8D43-6A60-8E9C17CAC2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6FB00D-B2EF-CD89-2375-5E80BE3A66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68BEB-7B4F-3B4C-9C80-C5E0D90F89D2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F951C2-93D4-0A9F-0947-59E91CFAA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6C7672-1672-F377-15A8-485626801C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ABE62-9030-B648-AC4B-6D3127059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3162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48F72-17A6-DFE1-0DC4-1315D5D9F7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42BA76-2F23-965B-E0E4-CEB3C70486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F6309B-8643-EBE9-1466-525A65C98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68BEB-7B4F-3B4C-9C80-C5E0D90F89D2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77DB20-05D9-97AE-2537-3BC65EE361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58A3B9-A32E-7E41-1E75-8297A7FE3F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ABE62-9030-B648-AC4B-6D3127059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4739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7816-811E-09FB-D714-425E437E9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F6CDEA-F169-9929-16BC-93D45C3F58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4473FA-EDC8-0756-C953-7CD50A7C36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CCF28C-AAE0-E519-86F5-BC120DD4EC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68BEB-7B4F-3B4C-9C80-C5E0D90F89D2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263E8E-615A-8964-6B9F-7E41AD207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858E1D-04FA-8CDA-CCAB-C853A9BD9C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ABE62-9030-B648-AC4B-6D3127059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423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AE8E0-9588-CACB-CAC9-7041BBDD2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9600A0-0F2E-19DD-ECBC-BCBEF11DAE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FAAA84-42CF-1F2F-6BF0-9E28699E6C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50BDBD-8218-9931-C4A1-0647747055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CE0D99B-2E6C-666F-49E3-DA3FB0C1E2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B8493BA-1827-22E6-87FF-E5FD18072C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68BEB-7B4F-3B4C-9C80-C5E0D90F89D2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B864AB5-5784-3A8E-978A-4E8D4EE18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4668984-0C8F-BC8C-9791-347CB87C6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ABE62-9030-B648-AC4B-6D3127059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5746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FB25D1-FF9C-6843-F5D1-B8CCA9E08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A5A3B0-4743-506C-2641-6FF0C7E417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68BEB-7B4F-3B4C-9C80-C5E0D90F89D2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0AD05C-5A2D-7526-D086-9EF74F6AF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03E022-062A-10A1-7D97-29654E6BE4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ABE62-9030-B648-AC4B-6D3127059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170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CCCBB6-53A2-612B-806D-9F37069D28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68BEB-7B4F-3B4C-9C80-C5E0D90F89D2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8F14E-5CDA-D565-AFB3-2E075E238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D51452-B78F-4F55-1AAC-000822E54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ABE62-9030-B648-AC4B-6D3127059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5669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87DB2-B4C7-8DBE-8572-AF4C2A1B0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6BA086-2670-76C9-2948-5244564446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BA9980-7F64-66EA-FD18-76ECA3E95C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EA33D2-4D2C-4552-258C-65625CA6BA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68BEB-7B4F-3B4C-9C80-C5E0D90F89D2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DD5B57-E0EC-EEDD-5C69-8BEEFB44A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664E65-97C5-FF3E-90F9-44561C41C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ABE62-9030-B648-AC4B-6D3127059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20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EC375D-C8B8-1C26-4C2E-3B481D08AD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D79CE75-92D1-F730-0A5D-BD7E5517C0E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2CF5A8-07DD-0B14-938F-347137919F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A60FA3-96C2-5CB2-8B9E-C3318AA4A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68BEB-7B4F-3B4C-9C80-C5E0D90F89D2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343B5-4050-90FD-C660-4503FB0816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BC5D78-0A22-716A-40D3-FF823FB38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ABE62-9030-B648-AC4B-6D3127059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8156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0A29656-0DA3-A0E7-1BB7-1A2AE3E37B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70482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27A23E-0479-D19A-300E-4B8B475F3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20B265-A36A-ED26-4BD9-4130AD3E51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67D1DC-6CB2-7A75-907E-9323BCE5EB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368BEB-7B4F-3B4C-9C80-C5E0D90F89D2}" type="datetimeFigureOut">
              <a:rPr lang="en-US" smtClean="0"/>
              <a:t>5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CE9435-ACBB-27CB-0A94-C54AA7F1B6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24376A-CC88-DC95-62E8-711843EE88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2ABE62-9030-B648-AC4B-6D3127059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945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localhost:4999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chart" Target="../charts/chart2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chart" Target="../charts/chart1.xml"/><Relationship Id="rId2" Type="http://schemas.openxmlformats.org/officeDocument/2006/relationships/tags" Target="../tags/tag5.xml"/><Relationship Id="rId16" Type="http://schemas.openxmlformats.org/officeDocument/2006/relationships/image" Target="../media/image1.emf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9C6587E-0C18-9455-4C4F-38AEADDD7E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C6587E-0C18-9455-4C4F-38AEADDD7E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c 7">
            <a:extLst>
              <a:ext uri="{FF2B5EF4-FFF2-40B4-BE49-F238E27FC236}">
                <a16:creationId xmlns:a16="http://schemas.microsoft.com/office/drawing/2014/main" id="{7461B36D-3AED-20BD-E7DA-3876DE0369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0097" y="643882"/>
            <a:ext cx="1445278" cy="1423043"/>
          </a:xfrm>
          <a:prstGeom prst="rect">
            <a:avLst/>
          </a:prstGeom>
        </p:spPr>
      </p:pic>
      <p:sp>
        <p:nvSpPr>
          <p:cNvPr id="2" name="Subtitle 2">
            <a:extLst>
              <a:ext uri="{FF2B5EF4-FFF2-40B4-BE49-F238E27FC236}">
                <a16:creationId xmlns:a16="http://schemas.microsoft.com/office/drawing/2014/main" id="{CE2669D9-05D3-6F4E-0A9B-96C5D241EA14}"/>
              </a:ext>
            </a:extLst>
          </p:cNvPr>
          <p:cNvSpPr txBox="1">
            <a:spLocks/>
          </p:cNvSpPr>
          <p:nvPr/>
        </p:nvSpPr>
        <p:spPr>
          <a:xfrm>
            <a:off x="4874602" y="2066437"/>
            <a:ext cx="6418831" cy="9263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/>
              <a:t>Passenger Train Delay Prediction</a:t>
            </a:r>
          </a:p>
          <a:p>
            <a:pPr marL="0" indent="0">
              <a:buNone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ct presentation</a:t>
            </a:r>
            <a:endParaRPr lang="en-US" dirty="0"/>
          </a:p>
        </p:txBody>
      </p:sp>
      <p:sp>
        <p:nvSpPr>
          <p:cNvPr id="6" name="TextBox 3">
            <a:extLst>
              <a:ext uri="{FF2B5EF4-FFF2-40B4-BE49-F238E27FC236}">
                <a16:creationId xmlns:a16="http://schemas.microsoft.com/office/drawing/2014/main" id="{C10C8FC8-1D47-3EC8-2CDF-C8627C055D12}"/>
              </a:ext>
            </a:extLst>
          </p:cNvPr>
          <p:cNvSpPr txBox="1"/>
          <p:nvPr/>
        </p:nvSpPr>
        <p:spPr>
          <a:xfrm>
            <a:off x="4874603" y="4842553"/>
            <a:ext cx="5057398" cy="4037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 dirty="0"/>
              <a:t>Group 5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8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800" dirty="0"/>
          </a:p>
        </p:txBody>
      </p:sp>
      <p:sp>
        <p:nvSpPr>
          <p:cNvPr id="7" name="TextBox 14">
            <a:extLst>
              <a:ext uri="{FF2B5EF4-FFF2-40B4-BE49-F238E27FC236}">
                <a16:creationId xmlns:a16="http://schemas.microsoft.com/office/drawing/2014/main" id="{D9381F0A-1CE7-B3DB-3FA5-8AAD3ACEFA90}"/>
              </a:ext>
            </a:extLst>
          </p:cNvPr>
          <p:cNvSpPr txBox="1"/>
          <p:nvPr/>
        </p:nvSpPr>
        <p:spPr>
          <a:xfrm>
            <a:off x="4874603" y="5400657"/>
            <a:ext cx="5057398" cy="8679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 dirty="0"/>
              <a:t>Machine Learning Engineering PA2595 </a:t>
            </a:r>
          </a:p>
        </p:txBody>
      </p:sp>
    </p:spTree>
    <p:extLst>
      <p:ext uri="{BB962C8B-B14F-4D97-AF65-F5344CB8AC3E}">
        <p14:creationId xmlns:p14="http://schemas.microsoft.com/office/powerpoint/2010/main" val="21471691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BA79A7CF-01AF-4178-9369-94E0C90EB0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C2DC7C-4114-C9EA-06F7-9093FDAB0C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67909" y="2023110"/>
            <a:ext cx="2469624" cy="284607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7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assenger Train delay Predic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9413ED5-9ED4-4772-BCE4-2BCAE6B12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3433973" y="-827233"/>
            <a:ext cx="1715478" cy="858342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4357C93-F0CB-4A1C-8F77-4E9063789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2085" y="664308"/>
            <a:ext cx="8082632" cy="56003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F533E9-6690-41A8-A372-4C6C622D02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950447" y="3392097"/>
            <a:ext cx="1719072" cy="1523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9D2C14-0773-9C34-CFF4-5BDC1BC10D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4018" y="2158904"/>
            <a:ext cx="6655388" cy="2539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9463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2550BE34-C2B8-49B8-8519-67A8CAD51A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A7457DD9-5A45-400A-AB4B-4B4EDECA2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416" y="365125"/>
            <a:ext cx="11167447" cy="2089317"/>
          </a:xfrm>
          <a:prstGeom prst="rect">
            <a:avLst/>
          </a:prstGeom>
          <a:ln w="12700">
            <a:solidFill>
              <a:srgbClr val="DEDEDE"/>
            </a:solidFill>
          </a:ln>
          <a:effectLst>
            <a:outerShdw blurRad="50800" dist="38100" dir="2700000" algn="tl" rotWithShape="0">
              <a:schemeClr val="bg2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A31A47-4CE7-968A-2D67-A37818CDBD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6746" y="586822"/>
            <a:ext cx="3560252" cy="164592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ample feature se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41CF7D6-A660-431A-B0BB-140A0D5556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0408" y="1057739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570A85B-3810-4F95-97B0-CBF4CCDB38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243541" y="1400638"/>
            <a:ext cx="14630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B02ED4-85B8-0188-240D-07101365BDCB}"/>
              </a:ext>
            </a:extLst>
          </p:cNvPr>
          <p:cNvSpPr txBox="1"/>
          <p:nvPr/>
        </p:nvSpPr>
        <p:spPr>
          <a:xfrm>
            <a:off x="5351164" y="586822"/>
            <a:ext cx="6002636" cy="16459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Data model of train announcement contains many attributes in JSON format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JSON data is converted to Pandas </a:t>
            </a:r>
            <a:r>
              <a:rPr lang="en-US" sz="1400" dirty="0" err="1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DataFrame</a:t>
            </a:r>
            <a:r>
              <a:rPr lang="en-US" sz="14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and the nested JSON structure is normalized into columns.</a:t>
            </a:r>
            <a:r>
              <a:rPr lang="en-IN" sz="1400" dirty="0">
                <a:effectLst/>
              </a:rPr>
              <a:t> </a:t>
            </a:r>
            <a:endParaRPr lang="en-US" sz="1400" dirty="0">
              <a:cs typeface="Times New Roman" panose="02020603050405020304" pitchFamily="18" charset="0"/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Below is the final subset of columns chose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E56E623-8ACD-4567-A5DE-1CFC97C9F2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672" y="3147056"/>
            <a:ext cx="10764215" cy="2722115"/>
          </a:xfrm>
          <a:prstGeom prst="rect">
            <a:avLst/>
          </a:prstGeom>
          <a:ln w="127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758787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2550BE34-C2B8-49B8-8519-67A8CAD51A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A7457DD9-5A45-400A-AB4B-4B4EDECA2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416" y="365125"/>
            <a:ext cx="11167447" cy="2089317"/>
          </a:xfrm>
          <a:prstGeom prst="rect">
            <a:avLst/>
          </a:prstGeom>
          <a:ln w="12700">
            <a:solidFill>
              <a:srgbClr val="DEDEDE"/>
            </a:solidFill>
          </a:ln>
          <a:effectLst>
            <a:outerShdw blurRad="50800" dist="38100" dir="2700000" algn="tl" rotWithShape="0">
              <a:schemeClr val="bg2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A31A47-4CE7-968A-2D67-A37818CDBD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6746" y="586822"/>
            <a:ext cx="3560252" cy="164592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Frontend App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41CF7D6-A660-431A-B0BB-140A0D5556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0408" y="1057739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570A85B-3810-4F95-97B0-CBF4CCDB38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243541" y="1400638"/>
            <a:ext cx="14630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E49BA5E-5BD4-E7A0-A9E6-635F75E217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783" y="2840580"/>
            <a:ext cx="5481509" cy="3261497"/>
          </a:xfrm>
          <a:prstGeom prst="rect">
            <a:avLst/>
          </a:prstGeom>
          <a:ln w="127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4" name="Picture 3" descr="A screenshot of a phone&#10;&#10;Description automatically generated">
            <a:extLst>
              <a:ext uri="{FF2B5EF4-FFF2-40B4-BE49-F238E27FC236}">
                <a16:creationId xmlns:a16="http://schemas.microsoft.com/office/drawing/2014/main" id="{D76CAEB1-FA93-0922-C1A1-2A39B970E7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8781" y="3056039"/>
            <a:ext cx="5523082" cy="283057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EE4D902-8A5C-93F8-90CF-E83D5B76D59C}"/>
              </a:ext>
            </a:extLst>
          </p:cNvPr>
          <p:cNvSpPr txBox="1"/>
          <p:nvPr/>
        </p:nvSpPr>
        <p:spPr>
          <a:xfrm>
            <a:off x="5237256" y="446917"/>
            <a:ext cx="6231556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400" dirty="0"/>
              <a:t>Allow the user to choose a train departure with SJ and predict if it will arrive on tim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400" dirty="0"/>
              <a:t>A future passenger with a ticket for a specific train departure would like to know if the train is likely to arrive on tim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400" dirty="0"/>
              <a:t>A</a:t>
            </a:r>
            <a:r>
              <a:rPr lang="en-IN" sz="1400" dirty="0">
                <a:effectLst/>
              </a:rPr>
              <a:t> potential ticket buyer finds information before purchasing a ticket whether the train will arrive on tim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400" dirty="0"/>
              <a:t>The first version of the user interface was coded in Python and then it was improved to HTML to enhance the usability.</a:t>
            </a:r>
          </a:p>
        </p:txBody>
      </p:sp>
    </p:spTree>
    <p:extLst>
      <p:ext uri="{BB962C8B-B14F-4D97-AF65-F5344CB8AC3E}">
        <p14:creationId xmlns:p14="http://schemas.microsoft.com/office/powerpoint/2010/main" val="17558932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2550BE34-C2B8-49B8-8519-67A8CAD51A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A7457DD9-5A45-400A-AB4B-4B4EDECA2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416" y="365125"/>
            <a:ext cx="11167447" cy="2089317"/>
          </a:xfrm>
          <a:prstGeom prst="rect">
            <a:avLst/>
          </a:prstGeom>
          <a:ln w="12700">
            <a:solidFill>
              <a:srgbClr val="DEDEDE"/>
            </a:solidFill>
          </a:ln>
          <a:effectLst>
            <a:outerShdw blurRad="50800" dist="38100" dir="2700000" algn="tl" rotWithShape="0">
              <a:schemeClr val="bg2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A31A47-4CE7-968A-2D67-A37818CDBD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6746" y="586822"/>
            <a:ext cx="3827730" cy="1645920"/>
          </a:xfrm>
        </p:spPr>
        <p:txBody>
          <a:bodyPr>
            <a:normAutofit/>
          </a:bodyPr>
          <a:lstStyle/>
          <a:p>
            <a:r>
              <a:rPr lang="en-US" sz="3200" dirty="0"/>
              <a:t>Backend service – Train schedu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41CF7D6-A660-431A-B0BB-140A0D5556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0408" y="1057739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570A85B-3810-4F95-97B0-CBF4CCDB38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243541" y="1400638"/>
            <a:ext cx="14630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F1CD93A-8E86-94BB-9F28-B13744EB7CAB}"/>
              </a:ext>
            </a:extLst>
          </p:cNvPr>
          <p:cNvSpPr txBox="1"/>
          <p:nvPr/>
        </p:nvSpPr>
        <p:spPr>
          <a:xfrm>
            <a:off x="5126717" y="948117"/>
            <a:ext cx="65108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flask-based web application running at </a:t>
            </a:r>
            <a:r>
              <a:rPr lang="en-US" dirty="0">
                <a:hlinkClick r:id="rId3"/>
              </a:rPr>
              <a:t>http://localhost:4999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quires a source station and returns a list of possible destination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C5B680E-1A8F-A15F-905F-F9249C142BA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4874476" y="3166042"/>
            <a:ext cx="6691769" cy="3013696"/>
          </a:xfrm>
          <a:prstGeom prst="rect">
            <a:avLst/>
          </a:prstGeom>
          <a:ln w="127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" name="Picture 5" descr="A screenshot of a phone&#10;&#10;Description automatically generated">
            <a:extLst>
              <a:ext uri="{FF2B5EF4-FFF2-40B4-BE49-F238E27FC236}">
                <a16:creationId xmlns:a16="http://schemas.microsoft.com/office/drawing/2014/main" id="{82B38481-1C38-EA7E-7D6B-D2E2B2449E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2666" y="2715592"/>
            <a:ext cx="2671799" cy="3847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935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79A7CF-01AF-4178-9369-94E0C90EB0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D0C646-AA31-D352-E4D3-DDEE9D07E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67909" y="2023110"/>
            <a:ext cx="2469624" cy="284607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7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Build pipelin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413ED5-9ED4-4772-BCE4-2BCAE6B12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3433973" y="-827233"/>
            <a:ext cx="1715478" cy="858342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4357C93-F0CB-4A1C-8F77-4E9063789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2085" y="664308"/>
            <a:ext cx="8082632" cy="56003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D6598E-E3B7-F0DC-7C27-5B18BA03FC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238" y="2266171"/>
            <a:ext cx="7608304" cy="239661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0F533E9-6690-41A8-A372-4C6C622D02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950447" y="3392097"/>
            <a:ext cx="1719072" cy="1523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442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E2B703B-46F9-481A-A605-82E2A828C4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538C1B-FEAD-6127-B068-F4EF51A44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59863"/>
            <a:ext cx="10515600" cy="1004594"/>
          </a:xfrm>
        </p:spPr>
        <p:txBody>
          <a:bodyPr>
            <a:normAutofit/>
          </a:bodyPr>
          <a:lstStyle/>
          <a:p>
            <a:pPr algn="ctr"/>
            <a:r>
              <a:rPr lang="en-DE">
                <a:solidFill>
                  <a:srgbClr val="FFFFFF"/>
                </a:solidFill>
              </a:rPr>
              <a:t>Testing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13BE4D7-0C3D-4906-B230-A1C5B4665C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9496" y="1587970"/>
            <a:ext cx="11033008" cy="4768380"/>
          </a:xfrm>
          <a:prstGeom prst="roundRect">
            <a:avLst>
              <a:gd name="adj" fmla="val 3174"/>
            </a:avLst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96861ADD-91F9-9FA1-936E-56D5AFE5F4D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01043793"/>
              </p:ext>
            </p:extLst>
          </p:nvPr>
        </p:nvGraphicFramePr>
        <p:xfrm>
          <a:off x="838200" y="1800911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15192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1" name="Rectangle 30">
            <a:extLst>
              <a:ext uri="{FF2B5EF4-FFF2-40B4-BE49-F238E27FC236}">
                <a16:creationId xmlns:a16="http://schemas.microsoft.com/office/drawing/2014/main" id="{56E9B3E6-E277-4D68-BA48-9CB43FFBD6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E1C45F0-260A-458C-96ED-C1F6D2151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" y="1216597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6604B49-AD5C-4590-B051-06C8222ECD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743ECCAF-29C5-4537-947C-7EA1292463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D49787B-8DE6-4467-AD0A-8DECC6E0C2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D5B0017B-2ECA-49AF-B397-DC140825DF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79" y="613954"/>
            <a:ext cx="10907487" cy="18941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0277B2-7989-A609-82A9-91CF5FA88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3631" y="809898"/>
            <a:ext cx="10173010" cy="1554480"/>
          </a:xfrm>
        </p:spPr>
        <p:txBody>
          <a:bodyPr anchor="ctr">
            <a:normAutofit/>
          </a:bodyPr>
          <a:lstStyle/>
          <a:p>
            <a:r>
              <a:rPr lang="en-DE" sz="4800"/>
              <a:t>Results: </a:t>
            </a:r>
            <a:r>
              <a:rPr lang="en-GB" sz="4800"/>
              <a:t>Classification Report</a:t>
            </a:r>
            <a:endParaRPr lang="en-DE" sz="48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CF1BAF6-AD41-4082-B212-8A1F9A2E87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38200" y="6485313"/>
            <a:ext cx="105156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03A803F-149D-0E91-4293-18F17BCF078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74962426"/>
              </p:ext>
            </p:extLst>
          </p:nvPr>
        </p:nvGraphicFramePr>
        <p:xfrm>
          <a:off x="1504677" y="3516046"/>
          <a:ext cx="9178292" cy="2212848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2835910">
                  <a:extLst>
                    <a:ext uri="{9D8B030D-6E8A-4147-A177-3AD203B41FA5}">
                      <a16:colId xmlns:a16="http://schemas.microsoft.com/office/drawing/2014/main" val="2750420209"/>
                    </a:ext>
                  </a:extLst>
                </a:gridCol>
                <a:gridCol w="2300394">
                  <a:extLst>
                    <a:ext uri="{9D8B030D-6E8A-4147-A177-3AD203B41FA5}">
                      <a16:colId xmlns:a16="http://schemas.microsoft.com/office/drawing/2014/main" val="1243919235"/>
                    </a:ext>
                  </a:extLst>
                </a:gridCol>
                <a:gridCol w="1741594">
                  <a:extLst>
                    <a:ext uri="{9D8B030D-6E8A-4147-A177-3AD203B41FA5}">
                      <a16:colId xmlns:a16="http://schemas.microsoft.com/office/drawing/2014/main" val="3809210625"/>
                    </a:ext>
                  </a:extLst>
                </a:gridCol>
                <a:gridCol w="2300394">
                  <a:extLst>
                    <a:ext uri="{9D8B030D-6E8A-4147-A177-3AD203B41FA5}">
                      <a16:colId xmlns:a16="http://schemas.microsoft.com/office/drawing/2014/main" val="930560941"/>
                    </a:ext>
                  </a:extLst>
                </a:gridCol>
              </a:tblGrid>
              <a:tr h="737616">
                <a:tc>
                  <a:txBody>
                    <a:bodyPr/>
                    <a:lstStyle/>
                    <a:p>
                      <a:r>
                        <a:rPr lang="en-DE" sz="3300" dirty="0"/>
                        <a:t>Label</a:t>
                      </a:r>
                    </a:p>
                  </a:txBody>
                  <a:tcPr marL="167640" marR="167640" marT="83820" marB="83820"/>
                </a:tc>
                <a:tc>
                  <a:txBody>
                    <a:bodyPr/>
                    <a:lstStyle/>
                    <a:p>
                      <a:r>
                        <a:rPr lang="en-DE" sz="3300" dirty="0"/>
                        <a:t>Precision</a:t>
                      </a:r>
                    </a:p>
                  </a:txBody>
                  <a:tcPr marL="167640" marR="167640" marT="83820" marB="83820"/>
                </a:tc>
                <a:tc>
                  <a:txBody>
                    <a:bodyPr/>
                    <a:lstStyle/>
                    <a:p>
                      <a:r>
                        <a:rPr lang="en-DE" sz="3300" dirty="0"/>
                        <a:t>Recall</a:t>
                      </a:r>
                    </a:p>
                  </a:txBody>
                  <a:tcPr marL="167640" marR="167640" marT="83820" marB="83820"/>
                </a:tc>
                <a:tc>
                  <a:txBody>
                    <a:bodyPr/>
                    <a:lstStyle/>
                    <a:p>
                      <a:r>
                        <a:rPr lang="en-DE" sz="3300" dirty="0"/>
                        <a:t>F1-Score</a:t>
                      </a:r>
                    </a:p>
                  </a:txBody>
                  <a:tcPr marL="167640" marR="167640" marT="83820" marB="83820"/>
                </a:tc>
                <a:extLst>
                  <a:ext uri="{0D108BD9-81ED-4DB2-BD59-A6C34878D82A}">
                    <a16:rowId xmlns:a16="http://schemas.microsoft.com/office/drawing/2014/main" val="1484407194"/>
                  </a:ext>
                </a:extLst>
              </a:tr>
              <a:tr h="737616">
                <a:tc>
                  <a:txBody>
                    <a:bodyPr/>
                    <a:lstStyle/>
                    <a:p>
                      <a:r>
                        <a:rPr lang="en-DE" sz="3300"/>
                        <a:t>0 (On-Time)</a:t>
                      </a:r>
                    </a:p>
                  </a:txBody>
                  <a:tcPr marL="167640" marR="167640" marT="83820" marB="83820"/>
                </a:tc>
                <a:tc>
                  <a:txBody>
                    <a:bodyPr/>
                    <a:lstStyle/>
                    <a:p>
                      <a:r>
                        <a:rPr lang="en-DE" sz="3300"/>
                        <a:t>1</a:t>
                      </a:r>
                    </a:p>
                  </a:txBody>
                  <a:tcPr marL="167640" marR="167640" marT="83820" marB="83820"/>
                </a:tc>
                <a:tc>
                  <a:txBody>
                    <a:bodyPr/>
                    <a:lstStyle/>
                    <a:p>
                      <a:r>
                        <a:rPr lang="en-DE" sz="3300"/>
                        <a:t>1</a:t>
                      </a:r>
                    </a:p>
                  </a:txBody>
                  <a:tcPr marL="167640" marR="167640" marT="83820" marB="83820"/>
                </a:tc>
                <a:tc>
                  <a:txBody>
                    <a:bodyPr/>
                    <a:lstStyle/>
                    <a:p>
                      <a:r>
                        <a:rPr lang="en-DE" sz="3300"/>
                        <a:t>1</a:t>
                      </a:r>
                    </a:p>
                  </a:txBody>
                  <a:tcPr marL="167640" marR="167640" marT="83820" marB="83820"/>
                </a:tc>
                <a:extLst>
                  <a:ext uri="{0D108BD9-81ED-4DB2-BD59-A6C34878D82A}">
                    <a16:rowId xmlns:a16="http://schemas.microsoft.com/office/drawing/2014/main" val="3034224098"/>
                  </a:ext>
                </a:extLst>
              </a:tr>
              <a:tr h="737616">
                <a:tc>
                  <a:txBody>
                    <a:bodyPr/>
                    <a:lstStyle/>
                    <a:p>
                      <a:r>
                        <a:rPr lang="en-DE" sz="3300" dirty="0"/>
                        <a:t>1 (Delay)</a:t>
                      </a:r>
                    </a:p>
                  </a:txBody>
                  <a:tcPr marL="167640" marR="167640" marT="83820" marB="83820"/>
                </a:tc>
                <a:tc>
                  <a:txBody>
                    <a:bodyPr/>
                    <a:lstStyle/>
                    <a:p>
                      <a:r>
                        <a:rPr lang="en-DE" sz="3300"/>
                        <a:t>1</a:t>
                      </a:r>
                    </a:p>
                  </a:txBody>
                  <a:tcPr marL="167640" marR="167640" marT="83820" marB="83820"/>
                </a:tc>
                <a:tc>
                  <a:txBody>
                    <a:bodyPr/>
                    <a:lstStyle/>
                    <a:p>
                      <a:r>
                        <a:rPr lang="en-DE" sz="3300"/>
                        <a:t>1</a:t>
                      </a:r>
                    </a:p>
                  </a:txBody>
                  <a:tcPr marL="167640" marR="167640" marT="83820" marB="83820"/>
                </a:tc>
                <a:tc>
                  <a:txBody>
                    <a:bodyPr/>
                    <a:lstStyle/>
                    <a:p>
                      <a:r>
                        <a:rPr lang="en-DE" sz="3300" dirty="0"/>
                        <a:t>1</a:t>
                      </a:r>
                    </a:p>
                  </a:txBody>
                  <a:tcPr marL="167640" marR="167640" marT="83820" marB="83820"/>
                </a:tc>
                <a:extLst>
                  <a:ext uri="{0D108BD9-81ED-4DB2-BD59-A6C34878D82A}">
                    <a16:rowId xmlns:a16="http://schemas.microsoft.com/office/drawing/2014/main" val="4996962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48150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2550BE34-C2B8-49B8-8519-67A8CAD51A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A7457DD9-5A45-400A-AB4B-4B4EDECA2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416" y="365125"/>
            <a:ext cx="11167447" cy="2089317"/>
          </a:xfrm>
          <a:prstGeom prst="rect">
            <a:avLst/>
          </a:prstGeom>
          <a:ln w="12700">
            <a:solidFill>
              <a:srgbClr val="DEDEDE"/>
            </a:solidFill>
          </a:ln>
          <a:effectLst>
            <a:outerShdw blurRad="50800" dist="38100" dir="2700000" algn="tl" rotWithShape="0">
              <a:schemeClr val="bg2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A31A47-4CE7-968A-2D67-A37818CDBD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6746" y="586822"/>
            <a:ext cx="3827730" cy="1645920"/>
          </a:xfrm>
        </p:spPr>
        <p:txBody>
          <a:bodyPr>
            <a:normAutofit/>
          </a:bodyPr>
          <a:lstStyle/>
          <a:p>
            <a:r>
              <a:rPr lang="en-US" sz="3200" dirty="0"/>
              <a:t>Advantag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41CF7D6-A660-431A-B0BB-140A0D5556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0408" y="1057739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570A85B-3810-4F95-97B0-CBF4CCDB38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243541" y="1400638"/>
            <a:ext cx="14630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F1CD93A-8E86-94BB-9F28-B13744EB7CAB}"/>
              </a:ext>
            </a:extLst>
          </p:cNvPr>
          <p:cNvSpPr txBox="1"/>
          <p:nvPr/>
        </p:nvSpPr>
        <p:spPr>
          <a:xfrm>
            <a:off x="618424" y="2895490"/>
            <a:ext cx="11103439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Operational Efficiency</a:t>
            </a:r>
            <a:r>
              <a:rPr lang="en-I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:</a:t>
            </a:r>
            <a:r>
              <a:rPr lang="en-US" b="0" i="0" dirty="0">
                <a:solidFill>
                  <a:srgbClr val="0D0D0D"/>
                </a:solidFill>
                <a:highlight>
                  <a:srgbClr val="FFFFFF"/>
                </a:highlight>
                <a:latin typeface="Aptos" panose="020B0004020202020204" pitchFamily="34" charset="0"/>
                <a:cs typeface="Times New Roman" panose="02020603050405020304" pitchFamily="18" charset="0"/>
              </a:rPr>
              <a:t> Proactive </a:t>
            </a:r>
            <a:r>
              <a:rPr lang="en-US" dirty="0">
                <a:solidFill>
                  <a:srgbClr val="0D0D0D"/>
                </a:solidFill>
                <a:highlight>
                  <a:srgbClr val="FFFFFF"/>
                </a:highlight>
                <a:latin typeface="Aptos" panose="020B0004020202020204" pitchFamily="34" charset="0"/>
                <a:cs typeface="Times New Roman" panose="02020603050405020304" pitchFamily="18" charset="0"/>
              </a:rPr>
              <a:t>management and improve train scheduling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assenger Experience: </a:t>
            </a:r>
            <a:r>
              <a:rPr lang="en-US" sz="180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creased reliability and better communication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st savings: </a:t>
            </a:r>
            <a:r>
              <a:rPr lang="en-US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fficient resource allocation, delay management and predictive maintenance</a:t>
            </a:r>
            <a:r>
              <a:rPr lang="en-US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mproved safety measures: </a:t>
            </a:r>
            <a:r>
              <a:rPr lang="en-IN" sz="1800" dirty="0">
                <a:solidFill>
                  <a:srgbClr val="0D0D0D"/>
                </a:solidFill>
                <a:highlight>
                  <a:srgbClr val="FFFFFF"/>
                </a:highlight>
                <a:latin typeface="Söhne"/>
                <a:ea typeface="Aptos" panose="020B0004020202020204" pitchFamily="34" charset="0"/>
                <a:cs typeface="Times New Roman" panose="02020603050405020304" pitchFamily="18" charset="0"/>
              </a:rPr>
              <a:t>I</a:t>
            </a:r>
            <a:r>
              <a:rPr lang="en-IN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Söhne"/>
              </a:rPr>
              <a:t>dentifying potential safety issues that cause delays, leading to better preventive measures.</a:t>
            </a:r>
            <a:endParaRPr lang="en-US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51622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D331740-FA12-86A0-F4ED-4B310735D7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331740-FA12-86A0-F4ED-4B310735D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D79451-92D7-5CD7-321A-25FAF7B8A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 dirty="0" err="1"/>
              <a:t>Future</a:t>
            </a:r>
            <a:r>
              <a:rPr lang="sv-SE" dirty="0"/>
              <a:t> </a:t>
            </a:r>
            <a:r>
              <a:rPr lang="sv-SE" dirty="0" err="1"/>
              <a:t>work</a:t>
            </a:r>
            <a:endParaRPr lang="en-DE" dirty="0"/>
          </a:p>
        </p:txBody>
      </p:sp>
      <p:sp>
        <p:nvSpPr>
          <p:cNvPr id="4" name="Rektangel: rundade hörn 3">
            <a:extLst>
              <a:ext uri="{FF2B5EF4-FFF2-40B4-BE49-F238E27FC236}">
                <a16:creationId xmlns:a16="http://schemas.microsoft.com/office/drawing/2014/main" id="{896474A2-853D-AE05-40E7-110184605307}"/>
              </a:ext>
            </a:extLst>
          </p:cNvPr>
          <p:cNvSpPr/>
          <p:nvPr/>
        </p:nvSpPr>
        <p:spPr>
          <a:xfrm>
            <a:off x="838200" y="1825624"/>
            <a:ext cx="2932794" cy="3131965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sv-SE" b="1" dirty="0" err="1"/>
              <a:t>Scale</a:t>
            </a:r>
            <a:r>
              <a:rPr lang="sv-SE" b="1" dirty="0"/>
              <a:t> 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crease the training data to a larger time span, ideally one year to take into account seasonal eff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clude all passenger train operators in Sweden</a:t>
            </a:r>
            <a:endParaRPr lang="sv-SE" dirty="0"/>
          </a:p>
        </p:txBody>
      </p:sp>
      <p:sp>
        <p:nvSpPr>
          <p:cNvPr id="6" name="Rektangel: rundade hörn 5">
            <a:extLst>
              <a:ext uri="{FF2B5EF4-FFF2-40B4-BE49-F238E27FC236}">
                <a16:creationId xmlns:a16="http://schemas.microsoft.com/office/drawing/2014/main" id="{C7638895-CA33-B7B7-3E05-FE41EDDFF7F1}"/>
              </a:ext>
            </a:extLst>
          </p:cNvPr>
          <p:cNvSpPr/>
          <p:nvPr/>
        </p:nvSpPr>
        <p:spPr>
          <a:xfrm>
            <a:off x="4629603" y="1825624"/>
            <a:ext cx="2932794" cy="3131965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sv-SE" b="1" dirty="0" err="1"/>
              <a:t>Finalize</a:t>
            </a:r>
            <a:r>
              <a:rPr lang="sv-SE" b="1" dirty="0"/>
              <a:t> </a:t>
            </a:r>
            <a:r>
              <a:rPr lang="sv-SE" b="1" dirty="0" err="1"/>
              <a:t>deployment</a:t>
            </a:r>
            <a:endParaRPr lang="en-US" sz="1200" b="1" dirty="0"/>
          </a:p>
          <a:p>
            <a:r>
              <a:rPr lang="en-US" dirty="0"/>
              <a:t>Finalize the connection between the backend and frontend service. </a:t>
            </a:r>
            <a:br>
              <a:rPr lang="en-US" dirty="0"/>
            </a:br>
            <a:endParaRPr lang="sv-SE" dirty="0"/>
          </a:p>
        </p:txBody>
      </p:sp>
      <p:sp>
        <p:nvSpPr>
          <p:cNvPr id="7" name="Rektangel: rundade hörn 6">
            <a:extLst>
              <a:ext uri="{FF2B5EF4-FFF2-40B4-BE49-F238E27FC236}">
                <a16:creationId xmlns:a16="http://schemas.microsoft.com/office/drawing/2014/main" id="{7AB902CB-0BA2-0F29-BAA8-D9D275623182}"/>
              </a:ext>
            </a:extLst>
          </p:cNvPr>
          <p:cNvSpPr/>
          <p:nvPr/>
        </p:nvSpPr>
        <p:spPr>
          <a:xfrm>
            <a:off x="8421006" y="1825624"/>
            <a:ext cx="2932794" cy="3131965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/>
              <a:t>Improve performance</a:t>
            </a:r>
            <a:br>
              <a:rPr lang="en-US" sz="1200" dirty="0">
                <a:effectLst/>
              </a:rPr>
            </a:br>
            <a:r>
              <a:rPr lang="en-US" dirty="0"/>
              <a:t>Develop the model so that it predict how large the delay will be in brackets of 5 minutes. </a:t>
            </a:r>
            <a:endParaRPr lang="sv-SE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06B5DED1-1E5C-3775-5645-79E5BF4C0ECC}"/>
              </a:ext>
            </a:extLst>
          </p:cNvPr>
          <p:cNvSpPr/>
          <p:nvPr/>
        </p:nvSpPr>
        <p:spPr>
          <a:xfrm>
            <a:off x="11093450" y="209550"/>
            <a:ext cx="900648" cy="807522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/>
              <a:t>C to </a:t>
            </a:r>
            <a:r>
              <a:rPr lang="sv-SE" dirty="0" err="1"/>
              <a:t>inser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369390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4" name="Rectangle 53">
            <a:extLst>
              <a:ext uri="{FF2B5EF4-FFF2-40B4-BE49-F238E27FC236}">
                <a16:creationId xmlns:a16="http://schemas.microsoft.com/office/drawing/2014/main" id="{4E1BEB12-92AF-4445-98AD-4C7756E7C9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0522C2C-7B5C-48A7-A969-03941E5D2E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6" name="Freeform 13">
            <a:extLst>
              <a:ext uri="{FF2B5EF4-FFF2-40B4-BE49-F238E27FC236}">
                <a16:creationId xmlns:a16="http://schemas.microsoft.com/office/drawing/2014/main" id="{9C682A1A-5B2D-4111-BBD6-620165633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769476" y="220196"/>
            <a:ext cx="9422524" cy="6637806"/>
          </a:xfrm>
          <a:custGeom>
            <a:avLst/>
            <a:gdLst>
              <a:gd name="connsiteX0" fmla="*/ 4929467 w 8191500"/>
              <a:gd name="connsiteY0" fmla="*/ 0 h 5770597"/>
              <a:gd name="connsiteX1" fmla="*/ 8065066 w 8191500"/>
              <a:gd name="connsiteY1" fmla="*/ 1118513 h 5770597"/>
              <a:gd name="connsiteX2" fmla="*/ 8191500 w 8191500"/>
              <a:gd name="connsiteY2" fmla="*/ 1227339 h 5770597"/>
              <a:gd name="connsiteX3" fmla="*/ 8191500 w 8191500"/>
              <a:gd name="connsiteY3" fmla="*/ 5770597 h 5770597"/>
              <a:gd name="connsiteX4" fmla="*/ 79523 w 8191500"/>
              <a:gd name="connsiteY4" fmla="*/ 5770597 h 5770597"/>
              <a:gd name="connsiteX5" fmla="*/ 56799 w 8191500"/>
              <a:gd name="connsiteY5" fmla="*/ 5644158 h 5770597"/>
              <a:gd name="connsiteX6" fmla="*/ 0 w 8191500"/>
              <a:gd name="connsiteY6" fmla="*/ 4898209 h 5770597"/>
              <a:gd name="connsiteX7" fmla="*/ 4929467 w 8191500"/>
              <a:gd name="connsiteY7" fmla="*/ 0 h 57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1500" h="5770597">
                <a:moveTo>
                  <a:pt x="4929467" y="0"/>
                </a:moveTo>
                <a:cubicBezTo>
                  <a:pt x="6120547" y="0"/>
                  <a:pt x="7212963" y="419755"/>
                  <a:pt x="8065066" y="1118513"/>
                </a:cubicBezTo>
                <a:lnTo>
                  <a:pt x="8191500" y="1227339"/>
                </a:lnTo>
                <a:lnTo>
                  <a:pt x="8191500" y="5770597"/>
                </a:lnTo>
                <a:lnTo>
                  <a:pt x="79523" y="5770597"/>
                </a:lnTo>
                <a:lnTo>
                  <a:pt x="56799" y="5644158"/>
                </a:lnTo>
                <a:cubicBezTo>
                  <a:pt x="19398" y="5400934"/>
                  <a:pt x="0" y="5151822"/>
                  <a:pt x="0" y="4898209"/>
                </a:cubicBezTo>
                <a:cubicBezTo>
                  <a:pt x="0" y="2193003"/>
                  <a:pt x="2206998" y="0"/>
                  <a:pt x="492946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D6EE29F2-D77F-4BD0-A20B-334D316A1C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209800" y="2099696"/>
            <a:ext cx="1942241" cy="188955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Arc 44">
            <a:extLst>
              <a:ext uri="{FF2B5EF4-FFF2-40B4-BE49-F238E27FC236}">
                <a16:creationId xmlns:a16="http://schemas.microsoft.com/office/drawing/2014/main" id="{22D09ED2-868F-42C6-866E-F92E0CEF3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520172">
            <a:off x="1613162" y="1492572"/>
            <a:ext cx="2987899" cy="2987899"/>
          </a:xfrm>
          <a:prstGeom prst="arc">
            <a:avLst>
              <a:gd name="adj1" fmla="val 14455503"/>
              <a:gd name="adj2" fmla="val 227775"/>
            </a:avLst>
          </a:prstGeom>
          <a:ln w="127000" cap="rnd">
            <a:solidFill>
              <a:schemeClr val="accent4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7FD99D-8714-3857-4179-C44B609FC7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8600" y="1939159"/>
            <a:ext cx="7644627" cy="2751086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60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he E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A2CE2D-A5A1-A740-F8F0-AE8C81E39C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38600" y="4782320"/>
            <a:ext cx="7644627" cy="1329443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 algn="r">
              <a:buNone/>
            </a:pPr>
            <a:r>
              <a:rPr lang="en-US" sz="24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619056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AC17DE74-01C9-4859-B65A-85CF999E85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68C0432-0E90-4CC1-8CD3-D44A90DF07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2347414"/>
          </a:xfrm>
          <a:custGeom>
            <a:avLst/>
            <a:gdLst>
              <a:gd name="connsiteX0" fmla="*/ 0 w 12192000"/>
              <a:gd name="connsiteY0" fmla="*/ 0 h 2347414"/>
              <a:gd name="connsiteX1" fmla="*/ 12192000 w 12192000"/>
              <a:gd name="connsiteY1" fmla="*/ 0 h 2347414"/>
              <a:gd name="connsiteX2" fmla="*/ 12192000 w 12192000"/>
              <a:gd name="connsiteY2" fmla="*/ 1736458 h 2347414"/>
              <a:gd name="connsiteX3" fmla="*/ 11967601 w 12192000"/>
              <a:gd name="connsiteY3" fmla="*/ 1784034 h 2347414"/>
              <a:gd name="connsiteX4" fmla="*/ 10829000 w 12192000"/>
              <a:gd name="connsiteY4" fmla="*/ 1983294 h 2347414"/>
              <a:gd name="connsiteX5" fmla="*/ 10743779 w 12192000"/>
              <a:gd name="connsiteY5" fmla="*/ 1996027 h 2347414"/>
              <a:gd name="connsiteX6" fmla="*/ 10829254 w 12192000"/>
              <a:gd name="connsiteY6" fmla="*/ 1987751 h 2347414"/>
              <a:gd name="connsiteX7" fmla="*/ 10847162 w 12192000"/>
              <a:gd name="connsiteY7" fmla="*/ 1988388 h 2347414"/>
              <a:gd name="connsiteX8" fmla="*/ 11575155 w 12192000"/>
              <a:gd name="connsiteY8" fmla="*/ 1921415 h 2347414"/>
              <a:gd name="connsiteX9" fmla="*/ 12192000 w 12192000"/>
              <a:gd name="connsiteY9" fmla="*/ 1851213 h 2347414"/>
              <a:gd name="connsiteX10" fmla="*/ 12192000 w 12192000"/>
              <a:gd name="connsiteY10" fmla="*/ 1907356 h 2347414"/>
              <a:gd name="connsiteX11" fmla="*/ 12035532 w 12192000"/>
              <a:gd name="connsiteY11" fmla="*/ 1927033 h 2347414"/>
              <a:gd name="connsiteX12" fmla="*/ 11576932 w 12192000"/>
              <a:gd name="connsiteY12" fmla="*/ 1976291 h 2347414"/>
              <a:gd name="connsiteX13" fmla="*/ 10627316 w 12192000"/>
              <a:gd name="connsiteY13" fmla="*/ 2061470 h 2347414"/>
              <a:gd name="connsiteX14" fmla="*/ 9804196 w 12192000"/>
              <a:gd name="connsiteY14" fmla="*/ 2123478 h 2347414"/>
              <a:gd name="connsiteX15" fmla="*/ 9243851 w 12192000"/>
              <a:gd name="connsiteY15" fmla="*/ 2180008 h 2347414"/>
              <a:gd name="connsiteX16" fmla="*/ 8731259 w 12192000"/>
              <a:gd name="connsiteY16" fmla="*/ 2225081 h 2347414"/>
              <a:gd name="connsiteX17" fmla="*/ 8065752 w 12192000"/>
              <a:gd name="connsiteY17" fmla="*/ 2271681 h 2347414"/>
              <a:gd name="connsiteX18" fmla="*/ 7658065 w 12192000"/>
              <a:gd name="connsiteY18" fmla="*/ 2292562 h 2347414"/>
              <a:gd name="connsiteX19" fmla="*/ 6531024 w 12192000"/>
              <a:gd name="connsiteY19" fmla="*/ 2324138 h 2347414"/>
              <a:gd name="connsiteX20" fmla="*/ 6178331 w 12192000"/>
              <a:gd name="connsiteY20" fmla="*/ 2345655 h 2347414"/>
              <a:gd name="connsiteX21" fmla="*/ 5977282 w 12192000"/>
              <a:gd name="connsiteY21" fmla="*/ 2344127 h 2347414"/>
              <a:gd name="connsiteX22" fmla="*/ 5367658 w 12192000"/>
              <a:gd name="connsiteY22" fmla="*/ 2329230 h 2347414"/>
              <a:gd name="connsiteX23" fmla="*/ 4387306 w 12192000"/>
              <a:gd name="connsiteY23" fmla="*/ 2288614 h 2347414"/>
              <a:gd name="connsiteX24" fmla="*/ 4180287 w 12192000"/>
              <a:gd name="connsiteY24" fmla="*/ 2280211 h 2347414"/>
              <a:gd name="connsiteX25" fmla="*/ 3842199 w 12192000"/>
              <a:gd name="connsiteY25" fmla="*/ 2257039 h 2347414"/>
              <a:gd name="connsiteX26" fmla="*/ 3730309 w 12192000"/>
              <a:gd name="connsiteY26" fmla="*/ 2251182 h 2347414"/>
              <a:gd name="connsiteX27" fmla="*/ 3425496 w 12192000"/>
              <a:gd name="connsiteY27" fmla="*/ 2231320 h 2347414"/>
              <a:gd name="connsiteX28" fmla="*/ 3076106 w 12192000"/>
              <a:gd name="connsiteY28" fmla="*/ 2201781 h 2347414"/>
              <a:gd name="connsiteX29" fmla="*/ 2819682 w 12192000"/>
              <a:gd name="connsiteY29" fmla="*/ 2182427 h 2347414"/>
              <a:gd name="connsiteX30" fmla="*/ 2525539 w 12192000"/>
              <a:gd name="connsiteY30" fmla="*/ 2152888 h 2347414"/>
              <a:gd name="connsiteX31" fmla="*/ 2311915 w 12192000"/>
              <a:gd name="connsiteY31" fmla="*/ 2133536 h 2347414"/>
              <a:gd name="connsiteX32" fmla="*/ 2054223 w 12192000"/>
              <a:gd name="connsiteY32" fmla="*/ 2104760 h 2347414"/>
              <a:gd name="connsiteX33" fmla="*/ 1865367 w 12192000"/>
              <a:gd name="connsiteY33" fmla="*/ 2084770 h 2347414"/>
              <a:gd name="connsiteX34" fmla="*/ 1629263 w 12192000"/>
              <a:gd name="connsiteY34" fmla="*/ 2055996 h 2347414"/>
              <a:gd name="connsiteX35" fmla="*/ 1458823 w 12192000"/>
              <a:gd name="connsiteY35" fmla="*/ 2035751 h 2347414"/>
              <a:gd name="connsiteX36" fmla="*/ 1241390 w 12192000"/>
              <a:gd name="connsiteY36" fmla="*/ 2007103 h 2347414"/>
              <a:gd name="connsiteX37" fmla="*/ 1047453 w 12192000"/>
              <a:gd name="connsiteY37" fmla="*/ 1980748 h 2347414"/>
              <a:gd name="connsiteX38" fmla="*/ 814907 w 12192000"/>
              <a:gd name="connsiteY38" fmla="*/ 1949045 h 2347414"/>
              <a:gd name="connsiteX39" fmla="*/ 592649 w 12192000"/>
              <a:gd name="connsiteY39" fmla="*/ 1913776 h 2347414"/>
              <a:gd name="connsiteX40" fmla="*/ 343591 w 12192000"/>
              <a:gd name="connsiteY40" fmla="*/ 1872650 h 2347414"/>
              <a:gd name="connsiteX41" fmla="*/ 35731 w 12192000"/>
              <a:gd name="connsiteY41" fmla="*/ 1821722 h 2347414"/>
              <a:gd name="connsiteX42" fmla="*/ 0 w 12192000"/>
              <a:gd name="connsiteY42" fmla="*/ 1814848 h 2347414"/>
              <a:gd name="connsiteX43" fmla="*/ 0 w 12192000"/>
              <a:gd name="connsiteY43" fmla="*/ 1758489 h 2347414"/>
              <a:gd name="connsiteX44" fmla="*/ 274248 w 12192000"/>
              <a:gd name="connsiteY44" fmla="*/ 1808735 h 2347414"/>
              <a:gd name="connsiteX45" fmla="*/ 498157 w 12192000"/>
              <a:gd name="connsiteY45" fmla="*/ 1846167 h 2347414"/>
              <a:gd name="connsiteX46" fmla="*/ 722828 w 12192000"/>
              <a:gd name="connsiteY46" fmla="*/ 1878635 h 2347414"/>
              <a:gd name="connsiteX47" fmla="*/ 949913 w 12192000"/>
              <a:gd name="connsiteY47" fmla="*/ 1912375 h 2347414"/>
              <a:gd name="connsiteX48" fmla="*/ 1195414 w 12192000"/>
              <a:gd name="connsiteY48" fmla="*/ 1947516 h 2347414"/>
              <a:gd name="connsiteX49" fmla="*/ 1342867 w 12192000"/>
              <a:gd name="connsiteY49" fmla="*/ 1968397 h 2347414"/>
              <a:gd name="connsiteX50" fmla="*/ 1518007 w 12192000"/>
              <a:gd name="connsiteY50" fmla="*/ 1988006 h 2347414"/>
              <a:gd name="connsiteX51" fmla="*/ 1701403 w 12192000"/>
              <a:gd name="connsiteY51" fmla="*/ 2010669 h 2347414"/>
              <a:gd name="connsiteX52" fmla="*/ 1879210 w 12192000"/>
              <a:gd name="connsiteY52" fmla="*/ 2031167 h 2347414"/>
              <a:gd name="connsiteX53" fmla="*/ 2068702 w 12192000"/>
              <a:gd name="connsiteY53" fmla="*/ 2052940 h 2347414"/>
              <a:gd name="connsiteX54" fmla="*/ 2212090 w 12192000"/>
              <a:gd name="connsiteY54" fmla="*/ 2067583 h 2347414"/>
              <a:gd name="connsiteX55" fmla="*/ 2416949 w 12192000"/>
              <a:gd name="connsiteY55" fmla="*/ 2089609 h 2347414"/>
              <a:gd name="connsiteX56" fmla="*/ 2582055 w 12192000"/>
              <a:gd name="connsiteY56" fmla="*/ 2105397 h 2347414"/>
              <a:gd name="connsiteX57" fmla="*/ 2802282 w 12192000"/>
              <a:gd name="connsiteY57" fmla="*/ 2126405 h 2347414"/>
              <a:gd name="connsiteX58" fmla="*/ 2984916 w 12192000"/>
              <a:gd name="connsiteY58" fmla="*/ 2141684 h 2347414"/>
              <a:gd name="connsiteX59" fmla="*/ 3241847 w 12192000"/>
              <a:gd name="connsiteY59" fmla="*/ 2164094 h 2347414"/>
              <a:gd name="connsiteX60" fmla="*/ 3439848 w 12192000"/>
              <a:gd name="connsiteY60" fmla="*/ 2176826 h 2347414"/>
              <a:gd name="connsiteX61" fmla="*/ 3658678 w 12192000"/>
              <a:gd name="connsiteY61" fmla="*/ 2194523 h 2347414"/>
              <a:gd name="connsiteX62" fmla="*/ 3881317 w 12192000"/>
              <a:gd name="connsiteY62" fmla="*/ 2206491 h 2347414"/>
              <a:gd name="connsiteX63" fmla="*/ 4148916 w 12192000"/>
              <a:gd name="connsiteY63" fmla="*/ 2225081 h 2347414"/>
              <a:gd name="connsiteX64" fmla="*/ 4468337 w 12192000"/>
              <a:gd name="connsiteY64" fmla="*/ 2237813 h 2347414"/>
              <a:gd name="connsiteX65" fmla="*/ 4605375 w 12192000"/>
              <a:gd name="connsiteY65" fmla="*/ 2240232 h 2347414"/>
              <a:gd name="connsiteX66" fmla="*/ 4527647 w 12192000"/>
              <a:gd name="connsiteY66" fmla="*/ 2236412 h 2347414"/>
              <a:gd name="connsiteX67" fmla="*/ 4175589 w 12192000"/>
              <a:gd name="connsiteY67" fmla="*/ 2212985 h 2347414"/>
              <a:gd name="connsiteX68" fmla="*/ 3988255 w 12192000"/>
              <a:gd name="connsiteY68" fmla="*/ 2200253 h 2347414"/>
              <a:gd name="connsiteX69" fmla="*/ 3686492 w 12192000"/>
              <a:gd name="connsiteY69" fmla="*/ 2176062 h 2347414"/>
              <a:gd name="connsiteX70" fmla="*/ 3517320 w 12192000"/>
              <a:gd name="connsiteY70" fmla="*/ 2163330 h 2347414"/>
              <a:gd name="connsiteX71" fmla="*/ 3258357 w 12192000"/>
              <a:gd name="connsiteY71" fmla="*/ 2139519 h 2347414"/>
              <a:gd name="connsiteX72" fmla="*/ 3101506 w 12192000"/>
              <a:gd name="connsiteY72" fmla="*/ 2126787 h 2347414"/>
              <a:gd name="connsiteX73" fmla="*/ 2809395 w 12192000"/>
              <a:gd name="connsiteY73" fmla="*/ 2097502 h 2347414"/>
              <a:gd name="connsiteX74" fmla="*/ 2598566 w 12192000"/>
              <a:gd name="connsiteY74" fmla="*/ 2078532 h 2347414"/>
              <a:gd name="connsiteX75" fmla="*/ 2337444 w 12192000"/>
              <a:gd name="connsiteY75" fmla="*/ 2048611 h 2347414"/>
              <a:gd name="connsiteX76" fmla="*/ 2091054 w 12192000"/>
              <a:gd name="connsiteY76" fmla="*/ 2023146 h 2347414"/>
              <a:gd name="connsiteX77" fmla="*/ 1755761 w 12192000"/>
              <a:gd name="connsiteY77" fmla="*/ 1981384 h 2347414"/>
              <a:gd name="connsiteX78" fmla="*/ 1441169 w 12192000"/>
              <a:gd name="connsiteY78" fmla="*/ 1943824 h 2347414"/>
              <a:gd name="connsiteX79" fmla="*/ 1017607 w 12192000"/>
              <a:gd name="connsiteY79" fmla="*/ 1883345 h 2347414"/>
              <a:gd name="connsiteX80" fmla="*/ 594427 w 12192000"/>
              <a:gd name="connsiteY80" fmla="*/ 1821849 h 2347414"/>
              <a:gd name="connsiteX81" fmla="*/ 200711 w 12192000"/>
              <a:gd name="connsiteY81" fmla="*/ 1755132 h 2347414"/>
              <a:gd name="connsiteX82" fmla="*/ 0 w 12192000"/>
              <a:gd name="connsiteY82" fmla="*/ 1718743 h 2347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12192000" h="2347414">
                <a:moveTo>
                  <a:pt x="0" y="0"/>
                </a:moveTo>
                <a:lnTo>
                  <a:pt x="12192000" y="0"/>
                </a:lnTo>
                <a:lnTo>
                  <a:pt x="12192000" y="1736458"/>
                </a:lnTo>
                <a:lnTo>
                  <a:pt x="11967601" y="1784034"/>
                </a:lnTo>
                <a:cubicBezTo>
                  <a:pt x="11589888" y="1859409"/>
                  <a:pt x="11209762" y="1923961"/>
                  <a:pt x="10829000" y="1983294"/>
                </a:cubicBezTo>
                <a:lnTo>
                  <a:pt x="10743779" y="1996027"/>
                </a:lnTo>
                <a:cubicBezTo>
                  <a:pt x="10772495" y="1996778"/>
                  <a:pt x="10801211" y="1993989"/>
                  <a:pt x="10829254" y="1987751"/>
                </a:cubicBezTo>
                <a:cubicBezTo>
                  <a:pt x="10835198" y="1988337"/>
                  <a:pt x="10841180" y="1988553"/>
                  <a:pt x="10847162" y="1988388"/>
                </a:cubicBezTo>
                <a:cubicBezTo>
                  <a:pt x="11090123" y="1968907"/>
                  <a:pt x="11332703" y="1945734"/>
                  <a:pt x="11575155" y="1921415"/>
                </a:cubicBezTo>
                <a:lnTo>
                  <a:pt x="12192000" y="1851213"/>
                </a:lnTo>
                <a:lnTo>
                  <a:pt x="12192000" y="1907356"/>
                </a:lnTo>
                <a:lnTo>
                  <a:pt x="12035532" y="1927033"/>
                </a:lnTo>
                <a:cubicBezTo>
                  <a:pt x="11882793" y="1944747"/>
                  <a:pt x="11729910" y="1961077"/>
                  <a:pt x="11576932" y="1976291"/>
                </a:cubicBezTo>
                <a:cubicBezTo>
                  <a:pt x="11260690" y="2008122"/>
                  <a:pt x="10944193" y="2037279"/>
                  <a:pt x="10627316" y="2061470"/>
                </a:cubicBezTo>
                <a:cubicBezTo>
                  <a:pt x="10352985" y="2082351"/>
                  <a:pt x="10078401" y="2100431"/>
                  <a:pt x="9804196" y="2123478"/>
                </a:cubicBezTo>
                <a:cubicBezTo>
                  <a:pt x="9617118" y="2139137"/>
                  <a:pt x="9430675" y="2161674"/>
                  <a:pt x="9243851" y="2180008"/>
                </a:cubicBezTo>
                <a:cubicBezTo>
                  <a:pt x="9073157" y="2196433"/>
                  <a:pt x="8902207" y="2211966"/>
                  <a:pt x="8731259" y="2225081"/>
                </a:cubicBezTo>
                <a:cubicBezTo>
                  <a:pt x="8509507" y="2242054"/>
                  <a:pt x="8287667" y="2257586"/>
                  <a:pt x="8065752" y="2271681"/>
                </a:cubicBezTo>
                <a:cubicBezTo>
                  <a:pt x="7929984" y="2280466"/>
                  <a:pt x="7793961" y="2285814"/>
                  <a:pt x="7658065" y="2292562"/>
                </a:cubicBezTo>
                <a:cubicBezTo>
                  <a:pt x="7282640" y="2311661"/>
                  <a:pt x="6906704" y="2314208"/>
                  <a:pt x="6531024" y="2324138"/>
                </a:cubicBezTo>
                <a:cubicBezTo>
                  <a:pt x="6413417" y="2327322"/>
                  <a:pt x="6295937" y="2338399"/>
                  <a:pt x="6178331" y="2345655"/>
                </a:cubicBezTo>
                <a:cubicBezTo>
                  <a:pt x="6111271" y="2349730"/>
                  <a:pt x="6044342" y="2345655"/>
                  <a:pt x="5977282" y="2344127"/>
                </a:cubicBezTo>
                <a:cubicBezTo>
                  <a:pt x="5774073" y="2338908"/>
                  <a:pt x="5570866" y="2334960"/>
                  <a:pt x="5367658" y="2329230"/>
                </a:cubicBezTo>
                <a:cubicBezTo>
                  <a:pt x="5040746" y="2319809"/>
                  <a:pt x="4713963" y="2306274"/>
                  <a:pt x="4387306" y="2288614"/>
                </a:cubicBezTo>
                <a:cubicBezTo>
                  <a:pt x="4318342" y="2284796"/>
                  <a:pt x="4249253" y="2284286"/>
                  <a:pt x="4180287" y="2280211"/>
                </a:cubicBezTo>
                <a:cubicBezTo>
                  <a:pt x="4067634" y="2273463"/>
                  <a:pt x="3954980" y="2265060"/>
                  <a:pt x="3842199" y="2257039"/>
                </a:cubicBezTo>
                <a:cubicBezTo>
                  <a:pt x="3804988" y="2254492"/>
                  <a:pt x="3767648" y="2254620"/>
                  <a:pt x="3730309" y="2251182"/>
                </a:cubicBezTo>
                <a:cubicBezTo>
                  <a:pt x="3628704" y="2242142"/>
                  <a:pt x="3527101" y="2238449"/>
                  <a:pt x="3425496" y="2231320"/>
                </a:cubicBezTo>
                <a:cubicBezTo>
                  <a:pt x="3308906" y="2222534"/>
                  <a:pt x="3192569" y="2211330"/>
                  <a:pt x="3076106" y="2201781"/>
                </a:cubicBezTo>
                <a:cubicBezTo>
                  <a:pt x="2990757" y="2194905"/>
                  <a:pt x="2905157" y="2190067"/>
                  <a:pt x="2819682" y="2182427"/>
                </a:cubicBezTo>
                <a:cubicBezTo>
                  <a:pt x="2721507" y="2173515"/>
                  <a:pt x="2623586" y="2162311"/>
                  <a:pt x="2525539" y="2152888"/>
                </a:cubicBezTo>
                <a:cubicBezTo>
                  <a:pt x="2454289" y="2145886"/>
                  <a:pt x="2383038" y="2140920"/>
                  <a:pt x="2311915" y="2133536"/>
                </a:cubicBezTo>
                <a:cubicBezTo>
                  <a:pt x="2225933" y="2124749"/>
                  <a:pt x="2140204" y="2114182"/>
                  <a:pt x="2054223" y="2104760"/>
                </a:cubicBezTo>
                <a:cubicBezTo>
                  <a:pt x="1990719" y="2097758"/>
                  <a:pt x="1928233" y="2092028"/>
                  <a:pt x="1865367" y="2084770"/>
                </a:cubicBezTo>
                <a:cubicBezTo>
                  <a:pt x="1786622" y="2075603"/>
                  <a:pt x="1708006" y="2065545"/>
                  <a:pt x="1629263" y="2055996"/>
                </a:cubicBezTo>
                <a:cubicBezTo>
                  <a:pt x="1572492" y="2049120"/>
                  <a:pt x="1515595" y="2043264"/>
                  <a:pt x="1458823" y="2035751"/>
                </a:cubicBezTo>
                <a:cubicBezTo>
                  <a:pt x="1386303" y="2026585"/>
                  <a:pt x="1313784" y="2016780"/>
                  <a:pt x="1241390" y="2007103"/>
                </a:cubicBezTo>
                <a:lnTo>
                  <a:pt x="1047453" y="1980748"/>
                </a:lnTo>
                <a:cubicBezTo>
                  <a:pt x="969980" y="1970180"/>
                  <a:pt x="892254" y="1960377"/>
                  <a:pt x="814907" y="1949045"/>
                </a:cubicBezTo>
                <a:cubicBezTo>
                  <a:pt x="740609" y="1938094"/>
                  <a:pt x="666692" y="1925744"/>
                  <a:pt x="592649" y="1913776"/>
                </a:cubicBezTo>
                <a:cubicBezTo>
                  <a:pt x="509587" y="1900280"/>
                  <a:pt x="426653" y="1886274"/>
                  <a:pt x="343591" y="1872650"/>
                </a:cubicBezTo>
                <a:cubicBezTo>
                  <a:pt x="240972" y="1855716"/>
                  <a:pt x="138225" y="1839673"/>
                  <a:pt x="35731" y="1821722"/>
                </a:cubicBezTo>
                <a:lnTo>
                  <a:pt x="0" y="1814848"/>
                </a:lnTo>
                <a:lnTo>
                  <a:pt x="0" y="1758489"/>
                </a:lnTo>
                <a:lnTo>
                  <a:pt x="274248" y="1808735"/>
                </a:lnTo>
                <a:cubicBezTo>
                  <a:pt x="348926" y="1821467"/>
                  <a:pt x="423604" y="1832798"/>
                  <a:pt x="498157" y="1846167"/>
                </a:cubicBezTo>
                <a:cubicBezTo>
                  <a:pt x="572708" y="1859536"/>
                  <a:pt x="647896" y="1867813"/>
                  <a:pt x="722828" y="1878635"/>
                </a:cubicBezTo>
                <a:cubicBezTo>
                  <a:pt x="797762" y="1889457"/>
                  <a:pt x="874219" y="1901426"/>
                  <a:pt x="949913" y="1912375"/>
                </a:cubicBezTo>
                <a:cubicBezTo>
                  <a:pt x="1031704" y="1924343"/>
                  <a:pt x="1113496" y="1935802"/>
                  <a:pt x="1195414" y="1947516"/>
                </a:cubicBezTo>
                <a:cubicBezTo>
                  <a:pt x="1244566" y="1954519"/>
                  <a:pt x="1293589" y="1962285"/>
                  <a:pt x="1342867" y="1968397"/>
                </a:cubicBezTo>
                <a:cubicBezTo>
                  <a:pt x="1401162" y="1975656"/>
                  <a:pt x="1459712" y="1981130"/>
                  <a:pt x="1518007" y="1988006"/>
                </a:cubicBezTo>
                <a:cubicBezTo>
                  <a:pt x="1579224" y="1995263"/>
                  <a:pt x="1640186" y="2003411"/>
                  <a:pt x="1701403" y="2010669"/>
                </a:cubicBezTo>
                <a:cubicBezTo>
                  <a:pt x="1762618" y="2017926"/>
                  <a:pt x="1820279" y="2024292"/>
                  <a:pt x="1879210" y="2031167"/>
                </a:cubicBezTo>
                <a:cubicBezTo>
                  <a:pt x="1942712" y="2038425"/>
                  <a:pt x="2006214" y="2046064"/>
                  <a:pt x="2068702" y="2052940"/>
                </a:cubicBezTo>
                <a:cubicBezTo>
                  <a:pt x="2116455" y="2058160"/>
                  <a:pt x="2164335" y="2062362"/>
                  <a:pt x="2212090" y="2067583"/>
                </a:cubicBezTo>
                <a:cubicBezTo>
                  <a:pt x="2280419" y="2074967"/>
                  <a:pt x="2348493" y="2085152"/>
                  <a:pt x="2416949" y="2089609"/>
                </a:cubicBezTo>
                <a:cubicBezTo>
                  <a:pt x="2472070" y="2093302"/>
                  <a:pt x="2526936" y="2099540"/>
                  <a:pt x="2582055" y="2105397"/>
                </a:cubicBezTo>
                <a:cubicBezTo>
                  <a:pt x="2655337" y="2113291"/>
                  <a:pt x="2729001" y="2119785"/>
                  <a:pt x="2802282" y="2126405"/>
                </a:cubicBezTo>
                <a:cubicBezTo>
                  <a:pt x="2862991" y="2131753"/>
                  <a:pt x="2924207" y="2136337"/>
                  <a:pt x="2984916" y="2141684"/>
                </a:cubicBezTo>
                <a:cubicBezTo>
                  <a:pt x="3070516" y="2149324"/>
                  <a:pt x="3156373" y="2152888"/>
                  <a:pt x="3241847" y="2164094"/>
                </a:cubicBezTo>
                <a:cubicBezTo>
                  <a:pt x="3307255" y="2172624"/>
                  <a:pt x="3374060" y="2169822"/>
                  <a:pt x="3439848" y="2176826"/>
                </a:cubicBezTo>
                <a:cubicBezTo>
                  <a:pt x="3512622" y="2184592"/>
                  <a:pt x="3585777" y="2186247"/>
                  <a:pt x="3658678" y="2194523"/>
                </a:cubicBezTo>
                <a:cubicBezTo>
                  <a:pt x="3731578" y="2202800"/>
                  <a:pt x="3807019" y="2201781"/>
                  <a:pt x="3881317" y="2206491"/>
                </a:cubicBezTo>
                <a:cubicBezTo>
                  <a:pt x="3970222" y="2212094"/>
                  <a:pt x="4059124" y="2223552"/>
                  <a:pt x="4148916" y="2225081"/>
                </a:cubicBezTo>
                <a:cubicBezTo>
                  <a:pt x="4255600" y="2226736"/>
                  <a:pt x="4361779" y="2236539"/>
                  <a:pt x="4468337" y="2237813"/>
                </a:cubicBezTo>
                <a:cubicBezTo>
                  <a:pt x="4511390" y="2238577"/>
                  <a:pt x="4554190" y="2246852"/>
                  <a:pt x="4605375" y="2240232"/>
                </a:cubicBezTo>
                <a:cubicBezTo>
                  <a:pt x="4574131" y="2238704"/>
                  <a:pt x="4550762" y="2237940"/>
                  <a:pt x="4527647" y="2236412"/>
                </a:cubicBezTo>
                <a:cubicBezTo>
                  <a:pt x="4410293" y="2228773"/>
                  <a:pt x="4292942" y="2220751"/>
                  <a:pt x="4175589" y="2212985"/>
                </a:cubicBezTo>
                <a:cubicBezTo>
                  <a:pt x="4113101" y="2208783"/>
                  <a:pt x="4050615" y="2205219"/>
                  <a:pt x="3988255" y="2200253"/>
                </a:cubicBezTo>
                <a:cubicBezTo>
                  <a:pt x="3887668" y="2192487"/>
                  <a:pt x="3787079" y="2184082"/>
                  <a:pt x="3686492" y="2176062"/>
                </a:cubicBezTo>
                <a:cubicBezTo>
                  <a:pt x="3630102" y="2171605"/>
                  <a:pt x="3573711" y="2168040"/>
                  <a:pt x="3517320" y="2163330"/>
                </a:cubicBezTo>
                <a:cubicBezTo>
                  <a:pt x="3430958" y="2155689"/>
                  <a:pt x="3344721" y="2147159"/>
                  <a:pt x="3258357" y="2139519"/>
                </a:cubicBezTo>
                <a:cubicBezTo>
                  <a:pt x="3206031" y="2134809"/>
                  <a:pt x="3153705" y="2131371"/>
                  <a:pt x="3101506" y="2126787"/>
                </a:cubicBezTo>
                <a:cubicBezTo>
                  <a:pt x="3004220" y="2117365"/>
                  <a:pt x="2907061" y="2106798"/>
                  <a:pt x="2809395" y="2097502"/>
                </a:cubicBezTo>
                <a:cubicBezTo>
                  <a:pt x="2739161" y="2090628"/>
                  <a:pt x="2668673" y="2085916"/>
                  <a:pt x="2598566" y="2078532"/>
                </a:cubicBezTo>
                <a:cubicBezTo>
                  <a:pt x="2511441" y="2069365"/>
                  <a:pt x="2424569" y="2058160"/>
                  <a:pt x="2337444" y="2048611"/>
                </a:cubicBezTo>
                <a:cubicBezTo>
                  <a:pt x="2255399" y="2039699"/>
                  <a:pt x="2173099" y="2032950"/>
                  <a:pt x="2091054" y="2023146"/>
                </a:cubicBezTo>
                <a:cubicBezTo>
                  <a:pt x="1979162" y="2010414"/>
                  <a:pt x="1867524" y="1995008"/>
                  <a:pt x="1755761" y="1981384"/>
                </a:cubicBezTo>
                <a:cubicBezTo>
                  <a:pt x="1650982" y="1968652"/>
                  <a:pt x="1545821" y="1957830"/>
                  <a:pt x="1441169" y="1943824"/>
                </a:cubicBezTo>
                <a:cubicBezTo>
                  <a:pt x="1299813" y="1924980"/>
                  <a:pt x="1158837" y="1903718"/>
                  <a:pt x="1017607" y="1883345"/>
                </a:cubicBezTo>
                <a:cubicBezTo>
                  <a:pt x="876378" y="1862974"/>
                  <a:pt x="735402" y="1844003"/>
                  <a:pt x="594427" y="1821849"/>
                </a:cubicBezTo>
                <a:cubicBezTo>
                  <a:pt x="462850" y="1801222"/>
                  <a:pt x="331526" y="1778304"/>
                  <a:pt x="200711" y="1755132"/>
                </a:cubicBezTo>
                <a:lnTo>
                  <a:pt x="0" y="1718743"/>
                </a:lnTo>
                <a:close/>
              </a:path>
            </a:pathLst>
          </a:custGeom>
          <a:solidFill>
            <a:schemeClr val="accent2"/>
          </a:solidFill>
          <a:ln w="81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785593-0D83-9A89-D8D8-10FD60619C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01221"/>
            <a:ext cx="10515600" cy="1348065"/>
          </a:xfrm>
          <a:noFill/>
        </p:spPr>
        <p:txBody>
          <a:bodyPr>
            <a:normAutofit/>
          </a:bodyPr>
          <a:lstStyle/>
          <a:p>
            <a:r>
              <a:rPr lang="en-DE" sz="5400" dirty="0">
                <a:solidFill>
                  <a:srgbClr val="FFFFFF"/>
                </a:solidFill>
              </a:rPr>
              <a:t>Group 5: Team Member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C25EBBF-B755-BFA2-D6C3-B4B6FDAD90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3558" y="4095970"/>
            <a:ext cx="2773680" cy="2210079"/>
          </a:xfrm>
          <a:ln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2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</a:ln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n-US" sz="1600" dirty="0"/>
              <a:t>Ziaul Chowdhury</a:t>
            </a:r>
          </a:p>
          <a:p>
            <a:pPr marL="0" indent="0">
              <a:buNone/>
            </a:pPr>
            <a:r>
              <a:rPr lang="en-US" sz="1400" dirty="0"/>
              <a:t>Software Engineer</a:t>
            </a:r>
          </a:p>
          <a:p>
            <a:pPr marL="0" indent="0">
              <a:buNone/>
            </a:pPr>
            <a:r>
              <a:rPr lang="en-US" sz="1400" dirty="0"/>
              <a:t>Roles:</a:t>
            </a:r>
          </a:p>
          <a:p>
            <a:r>
              <a:rPr lang="en-US" sz="1400" dirty="0"/>
              <a:t>Software Architect</a:t>
            </a:r>
          </a:p>
          <a:p>
            <a:r>
              <a:rPr lang="en-US" sz="1400" dirty="0"/>
              <a:t>Data Scientist</a:t>
            </a:r>
          </a:p>
          <a:p>
            <a:r>
              <a:rPr lang="en-US" sz="1400" dirty="0"/>
              <a:t>Software Engineer</a:t>
            </a:r>
          </a:p>
          <a:p>
            <a:r>
              <a:rPr lang="en-US" sz="1400" dirty="0"/>
              <a:t>Quality Assurance Engineer</a:t>
            </a:r>
          </a:p>
          <a:p>
            <a:pPr marL="0" indent="0">
              <a:buNone/>
            </a:pPr>
            <a:endParaRPr lang="en-DE" sz="14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FB86AE-806E-E09B-E5FC-A5029E014E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6429" y="2347414"/>
            <a:ext cx="1587939" cy="1605862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BA49776-D43A-8B8A-B1F3-A5171BEA0CBA}"/>
              </a:ext>
            </a:extLst>
          </p:cNvPr>
          <p:cNvSpPr txBox="1">
            <a:spLocks/>
          </p:cNvSpPr>
          <p:nvPr/>
        </p:nvSpPr>
        <p:spPr>
          <a:xfrm>
            <a:off x="4656515" y="4095970"/>
            <a:ext cx="2773680" cy="2210079"/>
          </a:xfrm>
          <a:prstGeom prst="rect">
            <a:avLst/>
          </a:prstGeom>
          <a:ln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2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</a:ln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600" dirty="0"/>
              <a:t>Christina Larsson</a:t>
            </a:r>
          </a:p>
          <a:p>
            <a:pPr marL="0" indent="0">
              <a:buNone/>
            </a:pPr>
            <a:r>
              <a:rPr lang="en-US" sz="1400" dirty="0"/>
              <a:t>Category manager sourcing</a:t>
            </a:r>
          </a:p>
          <a:p>
            <a:pPr marL="0" indent="0">
              <a:buNone/>
            </a:pPr>
            <a:r>
              <a:rPr lang="en-US" sz="1400" dirty="0"/>
              <a:t>Roles:</a:t>
            </a:r>
          </a:p>
          <a:p>
            <a:r>
              <a:rPr lang="en-US" sz="1400" dirty="0"/>
              <a:t>Requirements Engineer</a:t>
            </a:r>
          </a:p>
          <a:p>
            <a:r>
              <a:rPr lang="en-US" sz="1400" dirty="0"/>
              <a:t>Data Scientist</a:t>
            </a:r>
          </a:p>
          <a:p>
            <a:r>
              <a:rPr lang="en-US" sz="1400" dirty="0"/>
              <a:t>Developer</a:t>
            </a:r>
          </a:p>
          <a:p>
            <a:r>
              <a:rPr lang="en-US" sz="1400" dirty="0"/>
              <a:t>Subject Matter Expert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600" dirty="0"/>
          </a:p>
          <a:p>
            <a:pPr marL="0" indent="0">
              <a:buFont typeface="Arial" panose="020B0604020202020204" pitchFamily="34" charset="0"/>
              <a:buNone/>
            </a:pPr>
            <a:endParaRPr lang="en-DE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CF4757D-31F1-6530-6699-23A372DE93D0}"/>
              </a:ext>
            </a:extLst>
          </p:cNvPr>
          <p:cNvSpPr txBox="1">
            <a:spLocks/>
          </p:cNvSpPr>
          <p:nvPr/>
        </p:nvSpPr>
        <p:spPr>
          <a:xfrm>
            <a:off x="8576375" y="4095970"/>
            <a:ext cx="2773680" cy="2210079"/>
          </a:xfrm>
          <a:prstGeom prst="rect">
            <a:avLst/>
          </a:prstGeom>
          <a:ln>
            <a:gradFill flip="none" rotWithShape="1">
              <a:gsLst>
                <a:gs pos="0">
                  <a:schemeClr val="accent2">
                    <a:lumMod val="0"/>
                    <a:lumOff val="100000"/>
                  </a:schemeClr>
                </a:gs>
                <a:gs pos="35000">
                  <a:schemeClr val="accent2">
                    <a:lumMod val="0"/>
                    <a:lumOff val="100000"/>
                  </a:schemeClr>
                </a:gs>
                <a:gs pos="100000">
                  <a:schemeClr val="accent2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</a:ln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600" dirty="0" err="1"/>
              <a:t>Suhasini</a:t>
            </a:r>
            <a:r>
              <a:rPr lang="en-US" sz="1600" dirty="0"/>
              <a:t> Aswath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Software Engineer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400" dirty="0"/>
              <a:t>Role:</a:t>
            </a:r>
          </a:p>
          <a:p>
            <a:r>
              <a:rPr lang="en-US" sz="1400" dirty="0"/>
              <a:t>Solution Architect</a:t>
            </a:r>
          </a:p>
          <a:p>
            <a:r>
              <a:rPr lang="en-US" sz="1400" dirty="0"/>
              <a:t>Developer</a:t>
            </a:r>
          </a:p>
          <a:p>
            <a:r>
              <a:rPr lang="en-US" sz="1400" dirty="0"/>
              <a:t>Requirements Engineer</a:t>
            </a:r>
          </a:p>
          <a:p>
            <a:r>
              <a:rPr lang="en-US" sz="1400" dirty="0"/>
              <a:t>Quality Assurance Engineer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600" dirty="0"/>
          </a:p>
          <a:p>
            <a:pPr marL="0" indent="0">
              <a:buFont typeface="Arial" panose="020B0604020202020204" pitchFamily="34" charset="0"/>
              <a:buNone/>
            </a:pPr>
            <a:endParaRPr lang="en-D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BD7DA9-3476-EFD2-86AC-78FA420708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4876" y="2364714"/>
            <a:ext cx="1605582" cy="1588562"/>
          </a:xfrm>
          <a:prstGeom prst="rect">
            <a:avLst/>
          </a:prstGeom>
        </p:spPr>
      </p:pic>
      <p:pic>
        <p:nvPicPr>
          <p:cNvPr id="1026" name="Picture 2" descr="Profile photo of Suhasini Aswath">
            <a:extLst>
              <a:ext uri="{FF2B5EF4-FFF2-40B4-BE49-F238E27FC236}">
                <a16:creationId xmlns:a16="http://schemas.microsoft.com/office/drawing/2014/main" id="{6B1E4D9F-8E90-08B5-DD7C-742190AD8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0424" y="2347694"/>
            <a:ext cx="1605582" cy="1605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79223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9ADE074-862B-0FF8-170A-6779694227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ADE074-862B-0FF8-170A-677969422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DE8A77-EC09-C9D6-4770-325F426FFA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The background to the challenges in passenger train punctuality are many </a:t>
            </a:r>
            <a:endParaRPr lang="en-DE" dirty="0"/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5DFF4BFF-50F1-0CA5-7F9B-A139A9B99F1E}"/>
              </a:ext>
            </a:extLst>
          </p:cNvPr>
          <p:cNvSpPr txBox="1"/>
          <p:nvPr/>
        </p:nvSpPr>
        <p:spPr>
          <a:xfrm>
            <a:off x="838200" y="6388100"/>
            <a:ext cx="431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Source: Trafikverket and Trafikanalys</a:t>
            </a:r>
          </a:p>
        </p:txBody>
      </p:sp>
      <p:sp>
        <p:nvSpPr>
          <p:cNvPr id="11" name="Pil: femhörning 10">
            <a:extLst>
              <a:ext uri="{FF2B5EF4-FFF2-40B4-BE49-F238E27FC236}">
                <a16:creationId xmlns:a16="http://schemas.microsoft.com/office/drawing/2014/main" id="{45920950-AE08-7160-1E3E-2064283FE056}"/>
              </a:ext>
            </a:extLst>
          </p:cNvPr>
          <p:cNvSpPr/>
          <p:nvPr/>
        </p:nvSpPr>
        <p:spPr>
          <a:xfrm rot="5400000">
            <a:off x="5268910" y="-2605084"/>
            <a:ext cx="1654176" cy="10515598"/>
          </a:xfrm>
          <a:prstGeom prst="homePlate">
            <a:avLst>
              <a:gd name="adj" fmla="val 20522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3DE12D20-BA3D-629E-2DF5-DC7C2A5320F0}"/>
              </a:ext>
            </a:extLst>
          </p:cNvPr>
          <p:cNvSpPr txBox="1"/>
          <p:nvPr/>
        </p:nvSpPr>
        <p:spPr>
          <a:xfrm>
            <a:off x="634999" y="1891347"/>
            <a:ext cx="1071879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11111"/>
                </a:solidFill>
                <a:latin typeface="-apple-system"/>
              </a:rPr>
              <a:t>Trafikverket (Swedish Transport Administration) governs the most of the nation’s railroad  infrastructur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11111"/>
                </a:solidFill>
                <a:latin typeface="-apple-system"/>
              </a:rPr>
              <a:t>The Swedish rail market has undergone deregulation and traffic volumes of passengers and freight have increased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11111"/>
                </a:solidFill>
                <a:latin typeface="-apple-system"/>
              </a:rPr>
              <a:t>The infrastructure has during a long period received insufficient maintenance.</a:t>
            </a:r>
          </a:p>
          <a:p>
            <a:endParaRPr lang="sv-SE" dirty="0"/>
          </a:p>
        </p:txBody>
      </p:sp>
      <p:graphicFrame>
        <p:nvGraphicFramePr>
          <p:cNvPr id="8" name="Chart 3">
            <a:extLst>
              <a:ext uri="{FF2B5EF4-FFF2-40B4-BE49-F238E27FC236}">
                <a16:creationId xmlns:a16="http://schemas.microsoft.com/office/drawing/2014/main" id="{B5051438-3725-C7A6-5BBD-C45EA3863BE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55650" y="3733800"/>
          <a:ext cx="4889500" cy="2401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20B265-A36A-ED26-4BD9-4130AD3E512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830388" y="5888038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0BA37A-20D5-41EC-807E-ACFC5EC77879}" type="datetime'''''''1''9''''''''''''''''''''8''''8'''">
              <a:rPr lang="sv-SE" altLang="en-US" sz="1400" smtClean="0"/>
              <a:pPr/>
              <a:t>1988</a:t>
            </a:fld>
            <a:endParaRPr lang="sv-SE" sz="140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020B265-A36A-ED26-4BD9-4130AD3E512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192588" y="5888038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59EFA9C-C248-46D4-8F34-EEFE403E11BA}" type="datetime'''''''''''''''''''2''''''''''02''''''''''2'''">
              <a:rPr lang="sv-SE" altLang="en-US" sz="1400" smtClean="0"/>
              <a:pPr/>
              <a:t>2022</a:t>
            </a:fld>
            <a:endParaRPr lang="sv-SE" sz="1400" dirty="0"/>
          </a:p>
        </p:txBody>
      </p:sp>
      <p:cxnSp>
        <p:nvCxnSpPr>
          <p:cNvPr id="66" name="Rak koppling 65">
            <a:extLst>
              <a:ext uri="{FF2B5EF4-FFF2-40B4-BE49-F238E27FC236}">
                <a16:creationId xmlns:a16="http://schemas.microsoft.com/office/drawing/2014/main" id="{9ACA8C44-73B5-B1AF-43AF-01540B7B5A22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277226" y="4662488"/>
            <a:ext cx="6143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Rak koppling 45">
            <a:extLst>
              <a:ext uri="{FF2B5EF4-FFF2-40B4-BE49-F238E27FC236}">
                <a16:creationId xmlns:a16="http://schemas.microsoft.com/office/drawing/2014/main" id="{17D0F8FD-4A9F-6445-CD0E-04CC772A54D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9661526" y="4205288"/>
            <a:ext cx="6143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3" name="Chart 3">
            <a:extLst>
              <a:ext uri="{FF2B5EF4-FFF2-40B4-BE49-F238E27FC236}">
                <a16:creationId xmlns:a16="http://schemas.microsoft.com/office/drawing/2014/main" id="{330F6D8E-F554-6904-C17F-F091095AE30E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7118350" y="4122738"/>
          <a:ext cx="4318000" cy="1789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7020B265-A36A-ED26-4BD9-4130AD3E512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580313" y="5888038"/>
            <a:ext cx="623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F043B5D-8FD5-47D6-951D-4A4668326C57}" type="datetime'''Q''''''''''''''''''1'''''' ''''''2''''0''''2''4'''">
              <a:rPr lang="sv-SE" altLang="en-US" sz="1400" smtClean="0"/>
              <a:pPr/>
              <a:t>Q1 2024</a:t>
            </a:fld>
            <a:endParaRPr lang="sv-SE" sz="1400" dirty="0"/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7020B265-A36A-ED26-4BD9-4130AD3E512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096375" y="4338638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DA378D5-711F-4E53-B3A3-4DF5B236C6BA}" type="datetime'''''''''''''2''''''''''7''''''''''%'''">
              <a:rPr lang="sv-SE" altLang="en-US" sz="1400" smtClean="0"/>
              <a:pPr/>
              <a:t>27%</a:t>
            </a:fld>
            <a:endParaRPr lang="sv-SE" sz="1400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7020B265-A36A-ED26-4BD9-4130AD3E512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123363" y="5888038"/>
            <a:ext cx="304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7E5E7B7-E14F-4904-88D7-57423A7D9A86}" type="datetime'''''''''''''G''''''''''a''''''''''''''''''''''''p'''''''">
              <a:rPr lang="sv-SE" altLang="en-US" sz="1400" smtClean="0"/>
              <a:pPr/>
              <a:t>Gap</a:t>
            </a:fld>
            <a:endParaRPr lang="sv-SE" sz="14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020B265-A36A-ED26-4BD9-4130AD3E512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487025" y="5888038"/>
            <a:ext cx="346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8BF942-B1D4-42AD-98FB-6029A99D0BAE}" type="datetime'G''''''''''''''''''o''a''''''''''''''''l'''''''''''">
              <a:rPr lang="sv-SE" altLang="en-US" sz="1400" smtClean="0"/>
              <a:pPr/>
              <a:t>Goal</a:t>
            </a:fld>
            <a:endParaRPr lang="sv-SE" sz="1400" dirty="0"/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7020B265-A36A-ED26-4BD9-4130AD3E512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712075" y="4445000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B5DA54A-3DCA-4648-B4CF-2096AFF653FF}" type="datetime'''''''''''''''''''''6''8%'''''''''''''''''''''''''''''''''">
              <a:rPr lang="sv-SE" altLang="en-US" sz="1400" smtClean="0"/>
              <a:pPr/>
              <a:t>68%</a:t>
            </a:fld>
            <a:endParaRPr lang="sv-SE" sz="1400" dirty="0"/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7020B265-A36A-ED26-4BD9-4130AD3E512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0480675" y="3987800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0861FA9-373C-48DB-B6D8-EC31742F6FC6}" type="datetime'''''9''''5'''''''''''''''">
              <a:rPr lang="sv-SE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5</a:t>
            </a:fld>
            <a:r>
              <a:rPr lang="sv-SE" altLang="en-US" sz="1400" dirty="0">
                <a:effectLst/>
              </a:rPr>
              <a:t>%</a:t>
            </a:r>
            <a:endParaRPr lang="sv-SE" sz="1400" dirty="0"/>
          </a:p>
        </p:txBody>
      </p:sp>
      <p:sp>
        <p:nvSpPr>
          <p:cNvPr id="100" name="textruta 99">
            <a:extLst>
              <a:ext uri="{FF2B5EF4-FFF2-40B4-BE49-F238E27FC236}">
                <a16:creationId xmlns:a16="http://schemas.microsoft.com/office/drawing/2014/main" id="{8F74992E-312F-65B6-1C5D-1CEF223772A7}"/>
              </a:ext>
            </a:extLst>
          </p:cNvPr>
          <p:cNvSpPr txBox="1"/>
          <p:nvPr/>
        </p:nvSpPr>
        <p:spPr>
          <a:xfrm>
            <a:off x="266699" y="3670300"/>
            <a:ext cx="54165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 err="1"/>
              <a:t>Large</a:t>
            </a:r>
            <a:r>
              <a:rPr lang="sv-SE" b="1" dirty="0"/>
              <a:t> </a:t>
            </a:r>
            <a:r>
              <a:rPr lang="sv-SE" b="1" dirty="0" err="1"/>
              <a:t>increase</a:t>
            </a:r>
            <a:r>
              <a:rPr lang="sv-SE" b="1" dirty="0"/>
              <a:t> in </a:t>
            </a:r>
            <a:r>
              <a:rPr lang="sv-SE" b="1" dirty="0" err="1"/>
              <a:t>passenger</a:t>
            </a:r>
            <a:r>
              <a:rPr lang="sv-SE" b="1" dirty="0"/>
              <a:t> </a:t>
            </a:r>
            <a:r>
              <a:rPr lang="sv-SE" b="1" dirty="0" err="1"/>
              <a:t>train</a:t>
            </a:r>
            <a:r>
              <a:rPr lang="sv-SE" b="1" dirty="0"/>
              <a:t> operators</a:t>
            </a:r>
          </a:p>
        </p:txBody>
      </p:sp>
      <p:sp>
        <p:nvSpPr>
          <p:cNvPr id="111" name="textruta 110">
            <a:extLst>
              <a:ext uri="{FF2B5EF4-FFF2-40B4-BE49-F238E27FC236}">
                <a16:creationId xmlns:a16="http://schemas.microsoft.com/office/drawing/2014/main" id="{0082FC74-E1D1-CDFB-8D4D-5646B9E1B3FA}"/>
              </a:ext>
            </a:extLst>
          </p:cNvPr>
          <p:cNvSpPr txBox="1"/>
          <p:nvPr/>
        </p:nvSpPr>
        <p:spPr>
          <a:xfrm>
            <a:off x="7013572" y="3670300"/>
            <a:ext cx="4721225" cy="369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/>
              <a:t>Punctuality for long-</a:t>
            </a:r>
            <a:r>
              <a:rPr lang="sv-SE" b="1" dirty="0" err="1"/>
              <a:t>distance</a:t>
            </a:r>
            <a:r>
              <a:rPr lang="sv-SE" b="1" dirty="0"/>
              <a:t> trains in Sweden</a:t>
            </a:r>
          </a:p>
        </p:txBody>
      </p:sp>
    </p:spTree>
    <p:extLst>
      <p:ext uri="{BB962C8B-B14F-4D97-AF65-F5344CB8AC3E}">
        <p14:creationId xmlns:p14="http://schemas.microsoft.com/office/powerpoint/2010/main" val="28602423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3" name="Rectangle 72">
            <a:extLst>
              <a:ext uri="{FF2B5EF4-FFF2-40B4-BE49-F238E27FC236}">
                <a16:creationId xmlns:a16="http://schemas.microsoft.com/office/drawing/2014/main" id="{56E9B3E6-E277-4D68-BA48-9CB43FFBD6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AE1C45F0-260A-458C-96ED-C1F6D2151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" y="1216597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A6604B49-AD5C-4590-B051-06C8222ECD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743ECCAF-29C5-4537-947C-7EA1292463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D49787B-8DE6-4467-AD0A-8DECC6E0C2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D5B0017B-2ECA-49AF-B397-DC140825DF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79" y="613954"/>
            <a:ext cx="10907487" cy="18941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304C1-0E34-E7C6-F321-0555E70486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3631" y="809898"/>
            <a:ext cx="10173010" cy="1554480"/>
          </a:xfrm>
        </p:spPr>
        <p:txBody>
          <a:bodyPr anchor="ctr">
            <a:normAutofit/>
          </a:bodyPr>
          <a:lstStyle/>
          <a:p>
            <a:r>
              <a:rPr lang="en-US" sz="4800"/>
              <a:t>Introduction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6CF1BAF6-AD41-4082-B212-8A1F9A2E87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38200" y="6485313"/>
            <a:ext cx="105156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Content Placeholder 2">
            <a:extLst>
              <a:ext uri="{FF2B5EF4-FFF2-40B4-BE49-F238E27FC236}">
                <a16:creationId xmlns:a16="http://schemas.microsoft.com/office/drawing/2014/main" id="{BDCC46C9-7BDE-28B9-4AC5-27B454DF5A0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69513518"/>
              </p:ext>
            </p:extLst>
          </p:nvPr>
        </p:nvGraphicFramePr>
        <p:xfrm>
          <a:off x="904602" y="3017519"/>
          <a:ext cx="10378440" cy="32099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3375283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0" name="Rectangle 69">
            <a:extLst>
              <a:ext uri="{FF2B5EF4-FFF2-40B4-BE49-F238E27FC236}">
                <a16:creationId xmlns:a16="http://schemas.microsoft.com/office/drawing/2014/main" id="{6D1A2CED-DA9B-4CCF-8215-CFC65FE716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72" name="Rectangle 71">
            <a:extLst>
              <a:ext uri="{FF2B5EF4-FFF2-40B4-BE49-F238E27FC236}">
                <a16:creationId xmlns:a16="http://schemas.microsoft.com/office/drawing/2014/main" id="{562DFC44-A40C-4573-9230-B3EDB3EC8E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8209" y="260019"/>
            <a:ext cx="11167447" cy="5933012"/>
          </a:xfrm>
          <a:prstGeom prst="rect">
            <a:avLst/>
          </a:prstGeom>
          <a:ln w="12700">
            <a:solidFill>
              <a:srgbClr val="DEDEDE"/>
            </a:solidFill>
          </a:ln>
          <a:effectLst>
            <a:outerShdw blurRad="50800" dist="38100" dir="2700000" algn="tl" rotWithShape="0">
              <a:schemeClr val="bg2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AAF17C-F3E3-9628-5916-DB4C300C8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09521"/>
            <a:ext cx="10232136" cy="1014984"/>
          </a:xfrm>
        </p:spPr>
        <p:txBody>
          <a:bodyPr>
            <a:normAutofit/>
          </a:bodyPr>
          <a:lstStyle/>
          <a:p>
            <a:r>
              <a:rPr lang="en-US" sz="4000"/>
              <a:t>Project Goal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5589D35-CF9F-4DE9-A792-8571A09E9B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8834" y="658327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47" name="Content Placeholder 2">
            <a:extLst>
              <a:ext uri="{FF2B5EF4-FFF2-40B4-BE49-F238E27FC236}">
                <a16:creationId xmlns:a16="http://schemas.microsoft.com/office/drawing/2014/main" id="{46F4713E-C599-4062-B51D-0D7D185454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20582121"/>
              </p:ext>
            </p:extLst>
          </p:nvPr>
        </p:nvGraphicFramePr>
        <p:xfrm>
          <a:off x="1115568" y="1673352"/>
          <a:ext cx="10232136" cy="4334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67930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50CEED20-A22C-4FC3-BC0E-F4FE53FDE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8D5277-CBDB-A08B-74AC-F7AEAC958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3810" y="2825248"/>
            <a:ext cx="4036334" cy="238760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54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DLC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32D8612-31EB-44CF-A1D0-14FD4C705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2849524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19A4A0F-1B59-4DB0-9764-D10936E987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85810" y="679732"/>
            <a:ext cx="6009366" cy="542388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873B707-463F-40B0-8227-E8CC6C67EB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687568" y="6355073"/>
            <a:ext cx="6007608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0F4D0F-191C-3535-0770-F5E78DAB93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2568" y="2088521"/>
            <a:ext cx="3442711" cy="286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5861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D79451-92D7-5CD7-321A-25FAF7B8A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Requirements</a:t>
            </a:r>
          </a:p>
        </p:txBody>
      </p:sp>
      <p:sp>
        <p:nvSpPr>
          <p:cNvPr id="4" name="Rektangel: rundade hörn 3">
            <a:extLst>
              <a:ext uri="{FF2B5EF4-FFF2-40B4-BE49-F238E27FC236}">
                <a16:creationId xmlns:a16="http://schemas.microsoft.com/office/drawing/2014/main" id="{896474A2-853D-AE05-40E7-110184605307}"/>
              </a:ext>
            </a:extLst>
          </p:cNvPr>
          <p:cNvSpPr/>
          <p:nvPr/>
        </p:nvSpPr>
        <p:spPr>
          <a:xfrm>
            <a:off x="838200" y="1825625"/>
            <a:ext cx="3303494" cy="2032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sv-SE" dirty="0"/>
              <a:t>Data </a:t>
            </a:r>
            <a:r>
              <a:rPr lang="sv-SE" dirty="0" err="1"/>
              <a:t>requirements</a:t>
            </a:r>
            <a:endParaRPr lang="sv-SE" dirty="0"/>
          </a:p>
          <a:p>
            <a:r>
              <a:rPr lang="en-US" sz="1200" dirty="0">
                <a:latin typeface="Courier New" panose="02070309020205020404" pitchFamily="49" charset="0"/>
              </a:rPr>
              <a:t>id11</a:t>
            </a:r>
            <a:r>
              <a:rPr lang="en-US" sz="1200" dirty="0"/>
              <a:t> Use publicly available historical rail data from the Swedish Transport Administration. </a:t>
            </a:r>
          </a:p>
          <a:p>
            <a:r>
              <a:rPr lang="en-US" sz="1200" dirty="0">
                <a:latin typeface="Courier New" panose="02070309020205020404" pitchFamily="49" charset="0"/>
              </a:rPr>
              <a:t>id24 </a:t>
            </a:r>
            <a:r>
              <a:rPr lang="en-US" sz="1200" dirty="0"/>
              <a:t>The front-end application shall prompt the user to</a:t>
            </a:r>
            <a:br>
              <a:rPr lang="en-US" sz="1200" dirty="0"/>
            </a:br>
            <a:r>
              <a:rPr lang="en-US" sz="1200" dirty="0"/>
              <a:t>choose from a list a departing station and an arrival station.</a:t>
            </a:r>
            <a:br>
              <a:rPr lang="en-US" sz="1200" dirty="0"/>
            </a:br>
            <a:endParaRPr lang="sv-SE" sz="1200" dirty="0"/>
          </a:p>
        </p:txBody>
      </p:sp>
      <p:sp>
        <p:nvSpPr>
          <p:cNvPr id="6" name="Rektangel: rundade hörn 5">
            <a:extLst>
              <a:ext uri="{FF2B5EF4-FFF2-40B4-BE49-F238E27FC236}">
                <a16:creationId xmlns:a16="http://schemas.microsoft.com/office/drawing/2014/main" id="{C7638895-CA33-B7B7-3E05-FE41EDDFF7F1}"/>
              </a:ext>
            </a:extLst>
          </p:cNvPr>
          <p:cNvSpPr/>
          <p:nvPr/>
        </p:nvSpPr>
        <p:spPr>
          <a:xfrm>
            <a:off x="4446122" y="1825625"/>
            <a:ext cx="3303494" cy="2032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sv-SE" dirty="0" err="1"/>
              <a:t>Functional</a:t>
            </a:r>
            <a:r>
              <a:rPr lang="sv-SE" dirty="0"/>
              <a:t> </a:t>
            </a:r>
            <a:r>
              <a:rPr lang="sv-SE" dirty="0" err="1"/>
              <a:t>requirements</a:t>
            </a:r>
            <a:endParaRPr lang="sv-SE" dirty="0"/>
          </a:p>
          <a:p>
            <a:r>
              <a:rPr lang="en-US" sz="1200" dirty="0">
                <a:latin typeface="Courier New" panose="02070309020205020404" pitchFamily="49" charset="0"/>
              </a:rPr>
              <a:t>id31 </a:t>
            </a:r>
            <a:r>
              <a:rPr lang="en-US" sz="1200" dirty="0"/>
              <a:t>The system shall predict if a train between two specific</a:t>
            </a:r>
            <a:br>
              <a:rPr lang="en-US" sz="1200" dirty="0"/>
            </a:br>
            <a:r>
              <a:rPr lang="en-US" sz="1200" dirty="0"/>
              <a:t>stations will arrive on time. </a:t>
            </a:r>
            <a:r>
              <a:rPr lang="en-US" sz="1200" dirty="0" err="1"/>
              <a:t>Trafikverket’s</a:t>
            </a:r>
            <a:r>
              <a:rPr lang="en-US" sz="1200" dirty="0"/>
              <a:t> definition is that a</a:t>
            </a:r>
            <a:br>
              <a:rPr lang="en-US" sz="1200" dirty="0"/>
            </a:br>
            <a:r>
              <a:rPr lang="en-US" sz="1200" dirty="0"/>
              <a:t>deviation of more than 5:59 min after planned time is a delay.</a:t>
            </a:r>
            <a:br>
              <a:rPr lang="en-US" sz="1200" dirty="0"/>
            </a:br>
            <a:endParaRPr lang="sv-SE" sz="1200" dirty="0"/>
          </a:p>
        </p:txBody>
      </p:sp>
      <p:sp>
        <p:nvSpPr>
          <p:cNvPr id="7" name="Rektangel: rundade hörn 6">
            <a:extLst>
              <a:ext uri="{FF2B5EF4-FFF2-40B4-BE49-F238E27FC236}">
                <a16:creationId xmlns:a16="http://schemas.microsoft.com/office/drawing/2014/main" id="{7AB902CB-0BA2-0F29-BAA8-D9D275623182}"/>
              </a:ext>
            </a:extLst>
          </p:cNvPr>
          <p:cNvSpPr/>
          <p:nvPr/>
        </p:nvSpPr>
        <p:spPr>
          <a:xfrm>
            <a:off x="8054044" y="1825625"/>
            <a:ext cx="3303494" cy="2032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Performance Requirements</a:t>
            </a:r>
            <a:br>
              <a:rPr lang="en-US" sz="1200" dirty="0">
                <a:effectLst/>
              </a:rPr>
            </a:br>
            <a:r>
              <a:rPr lang="en-US" sz="1200" b="0" i="0" dirty="0">
                <a:effectLst/>
                <a:latin typeface="Courier New" panose="02070309020205020404" pitchFamily="49" charset="0"/>
              </a:rPr>
              <a:t>id41 </a:t>
            </a:r>
            <a:r>
              <a:rPr lang="en-US" sz="1200" b="0" i="0" dirty="0">
                <a:effectLst/>
                <a:latin typeface="Arial" panose="020B0604020202020204" pitchFamily="34" charset="0"/>
              </a:rPr>
              <a:t>The model shall achieve a minimum accuracy of [was not set from the start of the project]</a:t>
            </a:r>
            <a:endParaRPr lang="sv-SE" sz="1200" dirty="0"/>
          </a:p>
        </p:txBody>
      </p:sp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D9EC8567-F5A6-AC8B-4A5D-D91ED85D5774}"/>
              </a:ext>
            </a:extLst>
          </p:cNvPr>
          <p:cNvSpPr/>
          <p:nvPr/>
        </p:nvSpPr>
        <p:spPr>
          <a:xfrm>
            <a:off x="834462" y="4144963"/>
            <a:ext cx="5082244" cy="2032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System Requirements - Scalability</a:t>
            </a:r>
            <a:br>
              <a:rPr lang="en-US" sz="1200" dirty="0">
                <a:effectLst/>
              </a:rPr>
            </a:br>
            <a:r>
              <a:rPr lang="en-US" sz="1200" b="0" i="0" dirty="0">
                <a:effectLst/>
                <a:latin typeface="Courier New" panose="02070309020205020404" pitchFamily="49" charset="0"/>
              </a:rPr>
              <a:t>id55 </a:t>
            </a:r>
            <a:r>
              <a:rPr lang="en-US" sz="1200" b="0" i="0" dirty="0">
                <a:effectLst/>
                <a:latin typeface="Arial" panose="020B0604020202020204" pitchFamily="34" charset="0"/>
              </a:rPr>
              <a:t>The system shall be designed to scale with an increase</a:t>
            </a:r>
            <a:br>
              <a:rPr lang="en-US" sz="1200" dirty="0">
                <a:effectLst/>
              </a:rPr>
            </a:br>
            <a:r>
              <a:rPr lang="en-US" sz="1200" b="0" i="0" dirty="0">
                <a:effectLst/>
                <a:latin typeface="Arial" panose="020B0604020202020204" pitchFamily="34" charset="0"/>
              </a:rPr>
              <a:t>in data volume (increasing the time period analyzed) and</a:t>
            </a:r>
            <a:br>
              <a:rPr lang="en-US" sz="1200" dirty="0">
                <a:effectLst/>
              </a:rPr>
            </a:br>
            <a:r>
              <a:rPr lang="en-US" sz="1200" b="0" i="0" dirty="0">
                <a:effectLst/>
                <a:latin typeface="Arial" panose="020B0604020202020204" pitchFamily="34" charset="0"/>
              </a:rPr>
              <a:t>complexity (other departures, destinations and operators)</a:t>
            </a:r>
            <a:br>
              <a:rPr lang="en-US" sz="1200" dirty="0">
                <a:effectLst/>
              </a:rPr>
            </a:br>
            <a:endParaRPr lang="sv-SE" sz="1200" dirty="0"/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DF5866E6-8490-D081-7C86-4A3E96A72458}"/>
              </a:ext>
            </a:extLst>
          </p:cNvPr>
          <p:cNvSpPr/>
          <p:nvPr/>
        </p:nvSpPr>
        <p:spPr>
          <a:xfrm>
            <a:off x="6271556" y="4144963"/>
            <a:ext cx="5082244" cy="20320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Compliance and standards</a:t>
            </a:r>
            <a:br>
              <a:rPr lang="en-US" sz="1200" dirty="0">
                <a:effectLst/>
              </a:rPr>
            </a:br>
            <a:r>
              <a:rPr lang="en-US" sz="1200" b="0" i="0" dirty="0">
                <a:effectLst/>
                <a:latin typeface="Courier New" panose="02070309020205020404" pitchFamily="49" charset="0"/>
              </a:rPr>
              <a:t>id61 </a:t>
            </a:r>
            <a:r>
              <a:rPr lang="en-US" sz="1200" b="0" i="0" dirty="0">
                <a:effectLst/>
                <a:latin typeface="Arial" panose="020B0604020202020204" pitchFamily="34" charset="0"/>
              </a:rPr>
              <a:t>Data privacy - The system shall use only publicly</a:t>
            </a:r>
            <a:br>
              <a:rPr lang="en-US" sz="1200" dirty="0">
                <a:effectLst/>
              </a:rPr>
            </a:br>
            <a:r>
              <a:rPr lang="en-US" sz="1200" b="0" i="0" dirty="0">
                <a:effectLst/>
                <a:latin typeface="Arial" panose="020B0604020202020204" pitchFamily="34" charset="0"/>
              </a:rPr>
              <a:t>available data from Trafikverket, so avoid issues with data</a:t>
            </a:r>
            <a:br>
              <a:rPr lang="en-US" sz="1200" dirty="0">
                <a:effectLst/>
              </a:rPr>
            </a:br>
            <a:r>
              <a:rPr lang="en-US" sz="1200" b="0" i="0" dirty="0">
                <a:effectLst/>
                <a:latin typeface="Arial" panose="020B0604020202020204" pitchFamily="34" charset="0"/>
              </a:rPr>
              <a:t>protection regulations.</a:t>
            </a:r>
            <a:br>
              <a:rPr lang="en-US" sz="1200" dirty="0">
                <a:effectLst/>
              </a:rPr>
            </a:br>
            <a:r>
              <a:rPr lang="en-US" sz="1200" b="0" i="0" dirty="0">
                <a:effectLst/>
                <a:latin typeface="Courier New" panose="02070309020205020404" pitchFamily="49" charset="0"/>
              </a:rPr>
              <a:t>id65 </a:t>
            </a:r>
            <a:r>
              <a:rPr lang="en-US" sz="1200" b="0" i="0" dirty="0">
                <a:effectLst/>
                <a:latin typeface="Arial" panose="020B0604020202020204" pitchFamily="34" charset="0"/>
              </a:rPr>
              <a:t>Reporting - The system shall generate a response</a:t>
            </a:r>
            <a:br>
              <a:rPr lang="en-US" sz="1200" dirty="0">
                <a:effectLst/>
              </a:rPr>
            </a:br>
            <a:r>
              <a:rPr lang="en-US" sz="1200" b="0" i="0" dirty="0">
                <a:effectLst/>
                <a:latin typeface="Arial" panose="020B0604020202020204" pitchFamily="34" charset="0"/>
              </a:rPr>
              <a:t>informing the user if the model predicts that a train between</a:t>
            </a:r>
            <a:br>
              <a:rPr lang="en-US" sz="1200" dirty="0">
                <a:effectLst/>
              </a:rPr>
            </a:br>
            <a:r>
              <a:rPr lang="en-US" sz="1200" b="0" i="0" dirty="0">
                <a:effectLst/>
                <a:latin typeface="Arial" panose="020B0604020202020204" pitchFamily="34" charset="0"/>
              </a:rPr>
              <a:t>the named locations will arrive to the end location 1) on time</a:t>
            </a:r>
            <a:br>
              <a:rPr lang="en-US" sz="1200" dirty="0">
                <a:effectLst/>
              </a:rPr>
            </a:br>
            <a:r>
              <a:rPr lang="en-US" sz="1200" b="0" i="0" dirty="0">
                <a:effectLst/>
                <a:latin typeface="Arial" panose="020B0604020202020204" pitchFamily="34" charset="0"/>
              </a:rPr>
              <a:t>2) delayed.</a:t>
            </a:r>
            <a:br>
              <a:rPr lang="en-US" sz="1200" dirty="0">
                <a:effectLst/>
              </a:rPr>
            </a:b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42856333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79A7CF-01AF-4178-9369-94E0C90EB0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98C4DF-F9A5-54C0-F098-38C7B9C61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67909" y="2023110"/>
            <a:ext cx="2469624" cy="284607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4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ystem Architectu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413ED5-9ED4-4772-BCE4-2BCAE6B12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3433973" y="-827233"/>
            <a:ext cx="1715478" cy="858342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4357C93-F0CB-4A1C-8F77-4E9063789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2085" y="664308"/>
            <a:ext cx="8082632" cy="56003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F533E9-6690-41A8-A372-4C6C622D02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950447" y="3392097"/>
            <a:ext cx="1719072" cy="1523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C76BA1-A5E3-7A51-B12D-012AD8F082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262" y="2144395"/>
            <a:ext cx="6946900" cy="260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4836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BA79A7CF-01AF-4178-9369-94E0C90EB0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5948AF-9D6D-B7D8-090E-3444F70729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67909" y="2023110"/>
            <a:ext cx="2469624" cy="284607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7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Data Engineerin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9413ED5-9ED4-4772-BCE4-2BCAE6B12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3433973" y="-827233"/>
            <a:ext cx="1715478" cy="858342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4357C93-F0CB-4A1C-8F77-4E9063789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2085" y="664308"/>
            <a:ext cx="8082632" cy="56003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0F533E9-6690-41A8-A372-4C6C622D02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950447" y="3392097"/>
            <a:ext cx="1719072" cy="1523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B8CFA9F-695B-7326-59F6-8029400717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9412" y="2253932"/>
            <a:ext cx="6324600" cy="234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274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6kfRQNTyJAvbFUpp2t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NX.oz8H.wgxYnN3lR0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WA4hXPfUx1z86ughDT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Dl2rytSLeY7jULM3bM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d3YbUKMZAl3NYvPmZp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5BZCXtgnQdu94cREk1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gW552OyuID5XLeCU5N1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S5tAX9xzxrtFrwRtPO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n44VvdzvkIHBTKq943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22Bbk4Fgjh3cFrDvcI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gfPaBpp3IDygcYom5z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7FZnH3AgZX75bVeDSqY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811</TotalTime>
  <Words>1258</Words>
  <Application>Microsoft Office PowerPoint</Application>
  <PresentationFormat>Bredbild</PresentationFormat>
  <Paragraphs>131</Paragraphs>
  <Slides>19</Slides>
  <Notes>7</Notes>
  <HiddenSlides>0</HiddenSlides>
  <MMClips>0</MMClips>
  <ScaleCrop>false</ScaleCrop>
  <HeadingPairs>
    <vt:vector size="8" baseType="variant">
      <vt:variant>
        <vt:lpstr>Använt teckensnitt</vt:lpstr>
      </vt:variant>
      <vt:variant>
        <vt:i4>7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9</vt:i4>
      </vt:variant>
    </vt:vector>
  </HeadingPairs>
  <TitlesOfParts>
    <vt:vector size="28" baseType="lpstr">
      <vt:lpstr>-apple-system</vt:lpstr>
      <vt:lpstr>Aptos</vt:lpstr>
      <vt:lpstr>Arial</vt:lpstr>
      <vt:lpstr>Calibri</vt:lpstr>
      <vt:lpstr>Calibri Light</vt:lpstr>
      <vt:lpstr>Courier New</vt:lpstr>
      <vt:lpstr>Söhne</vt:lpstr>
      <vt:lpstr>Office Theme</vt:lpstr>
      <vt:lpstr>think-cell Slide</vt:lpstr>
      <vt:lpstr>PowerPoint-presentation</vt:lpstr>
      <vt:lpstr>Group 5: Team Members</vt:lpstr>
      <vt:lpstr>The background to the challenges in passenger train punctuality are many </vt:lpstr>
      <vt:lpstr>Introduction</vt:lpstr>
      <vt:lpstr>Project Goals</vt:lpstr>
      <vt:lpstr>SDLC</vt:lpstr>
      <vt:lpstr>Requirements</vt:lpstr>
      <vt:lpstr>System Architecture</vt:lpstr>
      <vt:lpstr>Data Engineering</vt:lpstr>
      <vt:lpstr>Passenger Train delay Prediction</vt:lpstr>
      <vt:lpstr>Sample feature set</vt:lpstr>
      <vt:lpstr>Frontend App</vt:lpstr>
      <vt:lpstr>Backend service – Train schedules</vt:lpstr>
      <vt:lpstr>Build pipeline</vt:lpstr>
      <vt:lpstr>Testing</vt:lpstr>
      <vt:lpstr>Results: Classification Report</vt:lpstr>
      <vt:lpstr>Advantages</vt:lpstr>
      <vt:lpstr>Future work</vt:lpstr>
      <vt:lpstr>The En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L Project</dc:title>
  <dc:creator>Suhasini Aswath</dc:creator>
  <cp:lastModifiedBy>Larsson Christina</cp:lastModifiedBy>
  <cp:revision>71</cp:revision>
  <dcterms:created xsi:type="dcterms:W3CDTF">2024-03-26T15:02:27Z</dcterms:created>
  <dcterms:modified xsi:type="dcterms:W3CDTF">2024-05-18T12:4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5a4278-630d-41b6-b091-4c752e4670f8_Enabled">
    <vt:lpwstr>true</vt:lpwstr>
  </property>
  <property fmtid="{D5CDD505-2E9C-101B-9397-08002B2CF9AE}" pid="3" name="MSIP_Label_985a4278-630d-41b6-b091-4c752e4670f8_SetDate">
    <vt:lpwstr>2024-05-18T12:32:05Z</vt:lpwstr>
  </property>
  <property fmtid="{D5CDD505-2E9C-101B-9397-08002B2CF9AE}" pid="4" name="MSIP_Label_985a4278-630d-41b6-b091-4c752e4670f8_Method">
    <vt:lpwstr>Privileged</vt:lpwstr>
  </property>
  <property fmtid="{D5CDD505-2E9C-101B-9397-08002B2CF9AE}" pid="5" name="MSIP_Label_985a4278-630d-41b6-b091-4c752e4670f8_Name">
    <vt:lpwstr>985a4278-630d-41b6-b091-4c752e4670f8</vt:lpwstr>
  </property>
  <property fmtid="{D5CDD505-2E9C-101B-9397-08002B2CF9AE}" pid="6" name="MSIP_Label_985a4278-630d-41b6-b091-4c752e4670f8_SiteId">
    <vt:lpwstr>2146c4ae-6471-40a8-b821-2774c8057963</vt:lpwstr>
  </property>
  <property fmtid="{D5CDD505-2E9C-101B-9397-08002B2CF9AE}" pid="7" name="MSIP_Label_985a4278-630d-41b6-b091-4c752e4670f8_ActionId">
    <vt:lpwstr>0b18350d-88a9-4c8c-b60d-fbcf0575e5af</vt:lpwstr>
  </property>
  <property fmtid="{D5CDD505-2E9C-101B-9397-08002B2CF9AE}" pid="8" name="MSIP_Label_985a4278-630d-41b6-b091-4c752e4670f8_ContentBits">
    <vt:lpwstr>0</vt:lpwstr>
  </property>
</Properties>
</file>